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2.xml" ContentType="application/vnd.openxmlformats-officedocument.theme+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229" r:id="rId4"/>
    <p:sldMasterId id="2147484286" r:id="rId5"/>
    <p:sldMasterId id="2147484308" r:id="rId6"/>
    <p:sldMasterId id="2147484621" r:id="rId7"/>
  </p:sldMasterIdLst>
  <p:notesMasterIdLst>
    <p:notesMasterId r:id="rId16"/>
  </p:notesMasterIdLst>
  <p:handoutMasterIdLst>
    <p:handoutMasterId r:id="rId17"/>
  </p:handoutMasterIdLst>
  <p:sldIdLst>
    <p:sldId id="1338" r:id="rId8"/>
    <p:sldId id="1479" r:id="rId9"/>
    <p:sldId id="1502" r:id="rId10"/>
    <p:sldId id="1501" r:id="rId11"/>
    <p:sldId id="1503" r:id="rId12"/>
    <p:sldId id="1500" r:id="rId13"/>
    <p:sldId id="1504" r:id="rId14"/>
    <p:sldId id="1499" r:id="rId15"/>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Microsoft Ignite Breakout Template" id="{A073DAE3-B461-442F-A3D3-6642BD875E45}">
          <p14:sldIdLst>
            <p14:sldId id="1338"/>
            <p14:sldId id="1479"/>
            <p14:sldId id="1502"/>
            <p14:sldId id="1501"/>
            <p14:sldId id="1503"/>
            <p14:sldId id="1500"/>
            <p14:sldId id="1504"/>
            <p14:sldId id="1499"/>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505050"/>
    <a:srgbClr val="47D8FF"/>
    <a:srgbClr val="11CCFF"/>
    <a:srgbClr val="85E5FF"/>
    <a:srgbClr val="43D7FF"/>
    <a:srgbClr val="B4A0FF"/>
    <a:srgbClr val="000000"/>
    <a:srgbClr val="00BCF2"/>
    <a:srgbClr val="52525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11DB671-DF99-4287-901D-38863FC76E14}" v="208" dt="2018-08-31T04:26:04.16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2830" autoAdjust="0"/>
    <p:restoredTop sz="94187" autoAdjust="0"/>
  </p:normalViewPr>
  <p:slideViewPr>
    <p:cSldViewPr>
      <p:cViewPr varScale="1">
        <p:scale>
          <a:sx n="103" d="100"/>
          <a:sy n="103" d="100"/>
        </p:scale>
        <p:origin x="72" y="114"/>
      </p:cViewPr>
      <p:guideLst/>
    </p:cSldViewPr>
  </p:slideViewPr>
  <p:outlineViewPr>
    <p:cViewPr>
      <p:scale>
        <a:sx n="33" d="100"/>
        <a:sy n="33" d="100"/>
      </p:scale>
      <p:origin x="0" y="-342"/>
    </p:cViewPr>
  </p:outlineViewPr>
  <p:notesTextViewPr>
    <p:cViewPr>
      <p:scale>
        <a:sx n="100" d="100"/>
        <a:sy n="100" d="100"/>
      </p:scale>
      <p:origin x="0" y="0"/>
    </p:cViewPr>
  </p:notesTextViewPr>
  <p:sorterViewPr>
    <p:cViewPr varScale="1">
      <p:scale>
        <a:sx n="1" d="1"/>
        <a:sy n="1" d="1"/>
      </p:scale>
      <p:origin x="0" y="0"/>
    </p:cViewPr>
  </p:sorterViewPr>
  <p:notesViewPr>
    <p:cSldViewPr showGuides="1">
      <p:cViewPr varScale="1">
        <p:scale>
          <a:sx n="83" d="100"/>
          <a:sy n="83" d="100"/>
        </p:scale>
        <p:origin x="2994" y="9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8.xml"/><Relationship Id="rId23" Type="http://schemas.microsoft.com/office/2016/11/relationships/changesInfo" Target="changesInfos/changesInfo1.xml"/><Relationship Id="rId10" Type="http://schemas.openxmlformats.org/officeDocument/2006/relationships/slide" Target="slides/slide3.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Vishal Khatal" userId="bab0fa6e-5dcd-45b8-9ebb-6a8f8382e55d" providerId="ADAL" clId="{311DB671-DF99-4287-901D-38863FC76E14}"/>
    <pc:docChg chg="undo redo custSel mod addSld delSld modSld sldOrd modMainMaster modSection">
      <pc:chgData name="Vishal Khatal" userId="bab0fa6e-5dcd-45b8-9ebb-6a8f8382e55d" providerId="ADAL" clId="{311DB671-DF99-4287-901D-38863FC76E14}" dt="2018-08-31T04:26:04.164" v="187" actId="14100"/>
      <pc:docMkLst>
        <pc:docMk/>
      </pc:docMkLst>
      <pc:sldChg chg="addSp delSp modSp mod setBg delDesignElem">
        <pc:chgData name="Vishal Khatal" userId="bab0fa6e-5dcd-45b8-9ebb-6a8f8382e55d" providerId="ADAL" clId="{311DB671-DF99-4287-901D-38863FC76E14}" dt="2018-08-31T04:22:49.010" v="164" actId="113"/>
        <pc:sldMkLst>
          <pc:docMk/>
          <pc:sldMk cId="342433294" sldId="1338"/>
        </pc:sldMkLst>
        <pc:spChg chg="mod">
          <ac:chgData name="Vishal Khatal" userId="bab0fa6e-5dcd-45b8-9ebb-6a8f8382e55d" providerId="ADAL" clId="{311DB671-DF99-4287-901D-38863FC76E14}" dt="2018-08-31T04:22:49.010" v="164" actId="113"/>
          <ac:spMkLst>
            <pc:docMk/>
            <pc:sldMk cId="342433294" sldId="1338"/>
            <ac:spMk id="4" creationId="{00000000-0000-0000-0000-000000000000}"/>
          </ac:spMkLst>
        </pc:spChg>
        <pc:spChg chg="ord">
          <ac:chgData name="Vishal Khatal" userId="bab0fa6e-5dcd-45b8-9ebb-6a8f8382e55d" providerId="ADAL" clId="{311DB671-DF99-4287-901D-38863FC76E14}" dt="2018-08-31T04:21:59.824" v="154" actId="26606"/>
          <ac:spMkLst>
            <pc:docMk/>
            <pc:sldMk cId="342433294" sldId="1338"/>
            <ac:spMk id="6" creationId="{00000000-0000-0000-0000-000000000000}"/>
          </ac:spMkLst>
        </pc:spChg>
        <pc:spChg chg="add del mod">
          <ac:chgData name="Vishal Khatal" userId="bab0fa6e-5dcd-45b8-9ebb-6a8f8382e55d" providerId="ADAL" clId="{311DB671-DF99-4287-901D-38863FC76E14}" dt="2018-08-31T04:10:49.761" v="12" actId="26606"/>
          <ac:spMkLst>
            <pc:docMk/>
            <pc:sldMk cId="342433294" sldId="1338"/>
            <ac:spMk id="35" creationId="{00000000-0000-0000-0000-000000000000}"/>
          </ac:spMkLst>
        </pc:spChg>
        <pc:spChg chg="add del">
          <ac:chgData name="Vishal Khatal" userId="bab0fa6e-5dcd-45b8-9ebb-6a8f8382e55d" providerId="ADAL" clId="{311DB671-DF99-4287-901D-38863FC76E14}" dt="2018-08-31T04:10:40.335" v="3" actId="26606"/>
          <ac:spMkLst>
            <pc:docMk/>
            <pc:sldMk cId="342433294" sldId="1338"/>
            <ac:spMk id="40" creationId="{3B854194-185D-494D-905C-7C7CB2E30F6E}"/>
          </ac:spMkLst>
        </pc:spChg>
        <pc:spChg chg="add del">
          <ac:chgData name="Vishal Khatal" userId="bab0fa6e-5dcd-45b8-9ebb-6a8f8382e55d" providerId="ADAL" clId="{311DB671-DF99-4287-901D-38863FC76E14}" dt="2018-08-31T04:10:40.335" v="3" actId="26606"/>
          <ac:spMkLst>
            <pc:docMk/>
            <pc:sldMk cId="342433294" sldId="1338"/>
            <ac:spMk id="42" creationId="{B4F5FA0D-0104-4987-8241-EFF7C85B88DE}"/>
          </ac:spMkLst>
        </pc:spChg>
        <pc:spChg chg="add del">
          <ac:chgData name="Vishal Khatal" userId="bab0fa6e-5dcd-45b8-9ebb-6a8f8382e55d" providerId="ADAL" clId="{311DB671-DF99-4287-901D-38863FC76E14}" dt="2018-08-31T04:10:42.492" v="5" actId="26606"/>
          <ac:spMkLst>
            <pc:docMk/>
            <pc:sldMk cId="342433294" sldId="1338"/>
            <ac:spMk id="46" creationId="{0499AD7B-99D4-4755-8966-F7BA0426904B}"/>
          </ac:spMkLst>
        </pc:spChg>
        <pc:spChg chg="add del">
          <ac:chgData name="Vishal Khatal" userId="bab0fa6e-5dcd-45b8-9ebb-6a8f8382e55d" providerId="ADAL" clId="{311DB671-DF99-4287-901D-38863FC76E14}" dt="2018-08-31T04:10:44.469" v="7" actId="26606"/>
          <ac:spMkLst>
            <pc:docMk/>
            <pc:sldMk cId="342433294" sldId="1338"/>
            <ac:spMk id="49" creationId="{0499AD7B-99D4-4755-8966-F7BA0426904B}"/>
          </ac:spMkLst>
        </pc:spChg>
        <pc:spChg chg="add del">
          <ac:chgData name="Vishal Khatal" userId="bab0fa6e-5dcd-45b8-9ebb-6a8f8382e55d" providerId="ADAL" clId="{311DB671-DF99-4287-901D-38863FC76E14}" dt="2018-08-31T04:10:49.060" v="9" actId="26606"/>
          <ac:spMkLst>
            <pc:docMk/>
            <pc:sldMk cId="342433294" sldId="1338"/>
            <ac:spMk id="53" creationId="{42285737-90EE-47DC-AC80-8AE156B11969}"/>
          </ac:spMkLst>
        </pc:spChg>
        <pc:spChg chg="add del">
          <ac:chgData name="Vishal Khatal" userId="bab0fa6e-5dcd-45b8-9ebb-6a8f8382e55d" providerId="ADAL" clId="{311DB671-DF99-4287-901D-38863FC76E14}" dt="2018-08-31T04:10:49.742" v="11" actId="26606"/>
          <ac:spMkLst>
            <pc:docMk/>
            <pc:sldMk cId="342433294" sldId="1338"/>
            <ac:spMk id="61" creationId="{0499AD7B-99D4-4755-8966-F7BA0426904B}"/>
          </ac:spMkLst>
        </pc:spChg>
        <pc:spChg chg="add del">
          <ac:chgData name="Vishal Khatal" userId="bab0fa6e-5dcd-45b8-9ebb-6a8f8382e55d" providerId="ADAL" clId="{311DB671-DF99-4287-901D-38863FC76E14}" dt="2018-08-31T04:11:24.210" v="14"/>
          <ac:spMkLst>
            <pc:docMk/>
            <pc:sldMk cId="342433294" sldId="1338"/>
            <ac:spMk id="65" creationId="{3B854194-185D-494D-905C-7C7CB2E30F6E}"/>
          </ac:spMkLst>
        </pc:spChg>
        <pc:spChg chg="add del">
          <ac:chgData name="Vishal Khatal" userId="bab0fa6e-5dcd-45b8-9ebb-6a8f8382e55d" providerId="ADAL" clId="{311DB671-DF99-4287-901D-38863FC76E14}" dt="2018-08-31T04:11:24.210" v="14"/>
          <ac:spMkLst>
            <pc:docMk/>
            <pc:sldMk cId="342433294" sldId="1338"/>
            <ac:spMk id="66" creationId="{B4F5FA0D-0104-4987-8241-EFF7C85B88DE}"/>
          </ac:spMkLst>
        </pc:spChg>
        <pc:spChg chg="add mod">
          <ac:chgData name="Vishal Khatal" userId="bab0fa6e-5dcd-45b8-9ebb-6a8f8382e55d" providerId="ADAL" clId="{311DB671-DF99-4287-901D-38863FC76E14}" dt="2018-08-31T04:22:42.045" v="162" actId="14100"/>
          <ac:spMkLst>
            <pc:docMk/>
            <pc:sldMk cId="342433294" sldId="1338"/>
            <ac:spMk id="68" creationId="{00000000-0000-0000-0000-000000000000}"/>
          </ac:spMkLst>
        </pc:spChg>
        <pc:spChg chg="add del">
          <ac:chgData name="Vishal Khatal" userId="bab0fa6e-5dcd-45b8-9ebb-6a8f8382e55d" providerId="ADAL" clId="{311DB671-DF99-4287-901D-38863FC76E14}" dt="2018-08-31T04:20:01.787" v="128" actId="26606"/>
          <ac:spMkLst>
            <pc:docMk/>
            <pc:sldMk cId="342433294" sldId="1338"/>
            <ac:spMk id="75" creationId="{0CABCAE3-64FC-4149-819F-2C1812824154}"/>
          </ac:spMkLst>
        </pc:spChg>
        <pc:spChg chg="add del">
          <ac:chgData name="Vishal Khatal" userId="bab0fa6e-5dcd-45b8-9ebb-6a8f8382e55d" providerId="ADAL" clId="{311DB671-DF99-4287-901D-38863FC76E14}" dt="2018-08-31T04:20:01.787" v="128" actId="26606"/>
          <ac:spMkLst>
            <pc:docMk/>
            <pc:sldMk cId="342433294" sldId="1338"/>
            <ac:spMk id="83" creationId="{35C3D674-3D59-4E93-80CA-0C0A9095E816}"/>
          </ac:spMkLst>
        </pc:spChg>
        <pc:spChg chg="add del">
          <ac:chgData name="Vishal Khatal" userId="bab0fa6e-5dcd-45b8-9ebb-6a8f8382e55d" providerId="ADAL" clId="{311DB671-DF99-4287-901D-38863FC76E14}" dt="2018-08-31T04:20:01.787" v="128" actId="26606"/>
          <ac:spMkLst>
            <pc:docMk/>
            <pc:sldMk cId="342433294" sldId="1338"/>
            <ac:spMk id="87" creationId="{EF2A81E1-BCBE-426B-8C09-33274E69409D}"/>
          </ac:spMkLst>
        </pc:spChg>
        <pc:spChg chg="add del">
          <ac:chgData name="Vishal Khatal" userId="bab0fa6e-5dcd-45b8-9ebb-6a8f8382e55d" providerId="ADAL" clId="{311DB671-DF99-4287-901D-38863FC76E14}" dt="2018-08-31T04:20:01.755" v="127" actId="26606"/>
          <ac:spMkLst>
            <pc:docMk/>
            <pc:sldMk cId="342433294" sldId="1338"/>
            <ac:spMk id="96" creationId="{0CABCAE3-64FC-4149-819F-2C1812824154}"/>
          </ac:spMkLst>
        </pc:spChg>
        <pc:spChg chg="add del">
          <ac:chgData name="Vishal Khatal" userId="bab0fa6e-5dcd-45b8-9ebb-6a8f8382e55d" providerId="ADAL" clId="{311DB671-DF99-4287-901D-38863FC76E14}" dt="2018-08-31T04:21:59.824" v="154" actId="26606"/>
          <ac:spMkLst>
            <pc:docMk/>
            <pc:sldMk cId="342433294" sldId="1338"/>
            <ac:spMk id="104" creationId="{1C2A4B30-77D7-4FFB-8B53-A88BD68CABD2}"/>
          </ac:spMkLst>
        </pc:spChg>
        <pc:spChg chg="add del">
          <ac:chgData name="Vishal Khatal" userId="bab0fa6e-5dcd-45b8-9ebb-6a8f8382e55d" providerId="ADAL" clId="{311DB671-DF99-4287-901D-38863FC76E14}" dt="2018-08-31T04:21:59.824" v="154" actId="26606"/>
          <ac:spMkLst>
            <pc:docMk/>
            <pc:sldMk cId="342433294" sldId="1338"/>
            <ac:spMk id="105" creationId="{0CABCAE3-64FC-4149-819F-2C1812824154}"/>
          </ac:spMkLst>
        </pc:spChg>
        <pc:spChg chg="add del">
          <ac:chgData name="Vishal Khatal" userId="bab0fa6e-5dcd-45b8-9ebb-6a8f8382e55d" providerId="ADAL" clId="{311DB671-DF99-4287-901D-38863FC76E14}" dt="2018-08-31T04:21:59.824" v="154" actId="26606"/>
          <ac:spMkLst>
            <pc:docMk/>
            <pc:sldMk cId="342433294" sldId="1338"/>
            <ac:spMk id="108" creationId="{01E4D783-AD45-49E7-B6C7-BBACB8290688}"/>
          </ac:spMkLst>
        </pc:spChg>
        <pc:spChg chg="add del">
          <ac:chgData name="Vishal Khatal" userId="bab0fa6e-5dcd-45b8-9ebb-6a8f8382e55d" providerId="ADAL" clId="{311DB671-DF99-4287-901D-38863FC76E14}" dt="2018-08-31T04:21:58.184" v="151" actId="26606"/>
          <ac:spMkLst>
            <pc:docMk/>
            <pc:sldMk cId="342433294" sldId="1338"/>
            <ac:spMk id="115" creationId="{0CABCAE3-64FC-4149-819F-2C1812824154}"/>
          </ac:spMkLst>
        </pc:spChg>
        <pc:spChg chg="add del">
          <ac:chgData name="Vishal Khatal" userId="bab0fa6e-5dcd-45b8-9ebb-6a8f8382e55d" providerId="ADAL" clId="{311DB671-DF99-4287-901D-38863FC76E14}" dt="2018-08-31T04:21:58.184" v="151" actId="26606"/>
          <ac:spMkLst>
            <pc:docMk/>
            <pc:sldMk cId="342433294" sldId="1338"/>
            <ac:spMk id="123" creationId="{1C2A4B30-77D7-4FFB-8B53-A88BD68CABD2}"/>
          </ac:spMkLst>
        </pc:spChg>
        <pc:spChg chg="add del">
          <ac:chgData name="Vishal Khatal" userId="bab0fa6e-5dcd-45b8-9ebb-6a8f8382e55d" providerId="ADAL" clId="{311DB671-DF99-4287-901D-38863FC76E14}" dt="2018-08-31T04:21:58.184" v="151" actId="26606"/>
          <ac:spMkLst>
            <pc:docMk/>
            <pc:sldMk cId="342433294" sldId="1338"/>
            <ac:spMk id="127" creationId="{01E4D783-AD45-49E7-B6C7-BBACB8290688}"/>
          </ac:spMkLst>
        </pc:spChg>
        <pc:spChg chg="add del">
          <ac:chgData name="Vishal Khatal" userId="bab0fa6e-5dcd-45b8-9ebb-6a8f8382e55d" providerId="ADAL" clId="{311DB671-DF99-4287-901D-38863FC76E14}" dt="2018-08-31T04:21:59.792" v="153" actId="26606"/>
          <ac:spMkLst>
            <pc:docMk/>
            <pc:sldMk cId="342433294" sldId="1338"/>
            <ac:spMk id="130" creationId="{0CABCAE3-64FC-4149-819F-2C1812824154}"/>
          </ac:spMkLst>
        </pc:spChg>
        <pc:spChg chg="add del">
          <ac:chgData name="Vishal Khatal" userId="bab0fa6e-5dcd-45b8-9ebb-6a8f8382e55d" providerId="ADAL" clId="{311DB671-DF99-4287-901D-38863FC76E14}" dt="2018-08-31T04:21:59.792" v="153" actId="26606"/>
          <ac:spMkLst>
            <pc:docMk/>
            <pc:sldMk cId="342433294" sldId="1338"/>
            <ac:spMk id="135" creationId="{35C3D674-3D59-4E93-80CA-0C0A9095E816}"/>
          </ac:spMkLst>
        </pc:spChg>
        <pc:spChg chg="add del">
          <ac:chgData name="Vishal Khatal" userId="bab0fa6e-5dcd-45b8-9ebb-6a8f8382e55d" providerId="ADAL" clId="{311DB671-DF99-4287-901D-38863FC76E14}" dt="2018-08-31T04:21:59.792" v="153" actId="26606"/>
          <ac:spMkLst>
            <pc:docMk/>
            <pc:sldMk cId="342433294" sldId="1338"/>
            <ac:spMk id="137" creationId="{EF2A81E1-BCBE-426B-8C09-33274E69409D}"/>
          </ac:spMkLst>
        </pc:spChg>
        <pc:spChg chg="add">
          <ac:chgData name="Vishal Khatal" userId="bab0fa6e-5dcd-45b8-9ebb-6a8f8382e55d" providerId="ADAL" clId="{311DB671-DF99-4287-901D-38863FC76E14}" dt="2018-08-31T04:21:59.824" v="154" actId="26606"/>
          <ac:spMkLst>
            <pc:docMk/>
            <pc:sldMk cId="342433294" sldId="1338"/>
            <ac:spMk id="139" creationId="{0CABCAE3-64FC-4149-819F-2C1812824154}"/>
          </ac:spMkLst>
        </pc:spChg>
        <pc:spChg chg="add">
          <ac:chgData name="Vishal Khatal" userId="bab0fa6e-5dcd-45b8-9ebb-6a8f8382e55d" providerId="ADAL" clId="{311DB671-DF99-4287-901D-38863FC76E14}" dt="2018-08-31T04:21:59.824" v="154" actId="26606"/>
          <ac:spMkLst>
            <pc:docMk/>
            <pc:sldMk cId="342433294" sldId="1338"/>
            <ac:spMk id="143" creationId="{1C2A4B30-77D7-4FFB-8B53-A88BD68CABD2}"/>
          </ac:spMkLst>
        </pc:spChg>
        <pc:spChg chg="add">
          <ac:chgData name="Vishal Khatal" userId="bab0fa6e-5dcd-45b8-9ebb-6a8f8382e55d" providerId="ADAL" clId="{311DB671-DF99-4287-901D-38863FC76E14}" dt="2018-08-31T04:21:59.824" v="154" actId="26606"/>
          <ac:spMkLst>
            <pc:docMk/>
            <pc:sldMk cId="342433294" sldId="1338"/>
            <ac:spMk id="145" creationId="{01E4D783-AD45-49E7-B6C7-BBACB8290688}"/>
          </ac:spMkLst>
        </pc:spChg>
        <pc:grpChg chg="add del">
          <ac:chgData name="Vishal Khatal" userId="bab0fa6e-5dcd-45b8-9ebb-6a8f8382e55d" providerId="ADAL" clId="{311DB671-DF99-4287-901D-38863FC76E14}" dt="2018-08-31T04:10:49.060" v="9" actId="26606"/>
          <ac:grpSpMkLst>
            <pc:docMk/>
            <pc:sldMk cId="342433294" sldId="1338"/>
            <ac:grpSpMk id="54" creationId="{B57BDC17-F1B3-455F-BBF1-680AA1F25C06}"/>
          </ac:grpSpMkLst>
        </pc:grpChg>
        <pc:graphicFrameChg chg="add del">
          <ac:chgData name="Vishal Khatal" userId="bab0fa6e-5dcd-45b8-9ebb-6a8f8382e55d" providerId="ADAL" clId="{311DB671-DF99-4287-901D-38863FC76E14}" dt="2018-08-31T04:10:42.492" v="5" actId="26606"/>
          <ac:graphicFrameMkLst>
            <pc:docMk/>
            <pc:sldMk cId="342433294" sldId="1338"/>
            <ac:graphicFrameMk id="37" creationId="{D66DC207-0F89-44E2-9711-C226BEFA19DB}"/>
          </ac:graphicFrameMkLst>
        </pc:graphicFrameChg>
        <pc:graphicFrameChg chg="add del">
          <ac:chgData name="Vishal Khatal" userId="bab0fa6e-5dcd-45b8-9ebb-6a8f8382e55d" providerId="ADAL" clId="{311DB671-DF99-4287-901D-38863FC76E14}" dt="2018-08-31T04:10:44.469" v="7" actId="26606"/>
          <ac:graphicFrameMkLst>
            <pc:docMk/>
            <pc:sldMk cId="342433294" sldId="1338"/>
            <ac:graphicFrameMk id="51" creationId="{CAEBF081-9EF8-470D-98BA-C15B6F8A0A27}"/>
          </ac:graphicFrameMkLst>
        </pc:graphicFrameChg>
        <pc:graphicFrameChg chg="add del">
          <ac:chgData name="Vishal Khatal" userId="bab0fa6e-5dcd-45b8-9ebb-6a8f8382e55d" providerId="ADAL" clId="{311DB671-DF99-4287-901D-38863FC76E14}" dt="2018-08-31T04:10:49.060" v="9" actId="26606"/>
          <ac:graphicFrameMkLst>
            <pc:docMk/>
            <pc:sldMk cId="342433294" sldId="1338"/>
            <ac:graphicFrameMk id="59" creationId="{A950502B-7A6D-4DFF-8310-67667B533F1A}"/>
          </ac:graphicFrameMkLst>
        </pc:graphicFrameChg>
        <pc:graphicFrameChg chg="add del">
          <ac:chgData name="Vishal Khatal" userId="bab0fa6e-5dcd-45b8-9ebb-6a8f8382e55d" providerId="ADAL" clId="{311DB671-DF99-4287-901D-38863FC76E14}" dt="2018-08-31T04:10:49.742" v="11" actId="26606"/>
          <ac:graphicFrameMkLst>
            <pc:docMk/>
            <pc:sldMk cId="342433294" sldId="1338"/>
            <ac:graphicFrameMk id="63" creationId="{D66DC207-0F89-44E2-9711-C226BEFA19DB}"/>
          </ac:graphicFrameMkLst>
        </pc:graphicFrameChg>
        <pc:picChg chg="add mod">
          <ac:chgData name="Vishal Khatal" userId="bab0fa6e-5dcd-45b8-9ebb-6a8f8382e55d" providerId="ADAL" clId="{311DB671-DF99-4287-901D-38863FC76E14}" dt="2018-08-31T04:22:39.407" v="161" actId="1076"/>
          <ac:picMkLst>
            <pc:docMk/>
            <pc:sldMk cId="342433294" sldId="1338"/>
            <ac:picMk id="3" creationId="{79B3AE84-1D00-46FA-8C2F-04B2319BC701}"/>
          </ac:picMkLst>
        </pc:picChg>
        <pc:picChg chg="add del">
          <ac:chgData name="Vishal Khatal" userId="bab0fa6e-5dcd-45b8-9ebb-6a8f8382e55d" providerId="ADAL" clId="{311DB671-DF99-4287-901D-38863FC76E14}" dt="2018-08-31T04:10:40.335" v="3" actId="26606"/>
          <ac:picMkLst>
            <pc:docMk/>
            <pc:sldMk cId="342433294" sldId="1338"/>
            <ac:picMk id="44" creationId="{2897127E-6CEF-446C-BE87-93B7C46E49D1}"/>
          </ac:picMkLst>
        </pc:picChg>
        <pc:picChg chg="add del">
          <ac:chgData name="Vishal Khatal" userId="bab0fa6e-5dcd-45b8-9ebb-6a8f8382e55d" providerId="ADAL" clId="{311DB671-DF99-4287-901D-38863FC76E14}" dt="2018-08-31T04:10:42.492" v="5" actId="26606"/>
          <ac:picMkLst>
            <pc:docMk/>
            <pc:sldMk cId="342433294" sldId="1338"/>
            <ac:picMk id="47" creationId="{1A06F89A-489D-4383-94C5-42F7FF2E9A63}"/>
          </ac:picMkLst>
        </pc:picChg>
        <pc:picChg chg="add del">
          <ac:chgData name="Vishal Khatal" userId="bab0fa6e-5dcd-45b8-9ebb-6a8f8382e55d" providerId="ADAL" clId="{311DB671-DF99-4287-901D-38863FC76E14}" dt="2018-08-31T04:10:44.469" v="7" actId="26606"/>
          <ac:picMkLst>
            <pc:docMk/>
            <pc:sldMk cId="342433294" sldId="1338"/>
            <ac:picMk id="50" creationId="{1A06F89A-489D-4383-94C5-42F7FF2E9A63}"/>
          </ac:picMkLst>
        </pc:picChg>
        <pc:picChg chg="add del">
          <ac:chgData name="Vishal Khatal" userId="bab0fa6e-5dcd-45b8-9ebb-6a8f8382e55d" providerId="ADAL" clId="{311DB671-DF99-4287-901D-38863FC76E14}" dt="2018-08-31T04:10:49.742" v="11" actId="26606"/>
          <ac:picMkLst>
            <pc:docMk/>
            <pc:sldMk cId="342433294" sldId="1338"/>
            <ac:picMk id="62" creationId="{1A06F89A-489D-4383-94C5-42F7FF2E9A63}"/>
          </ac:picMkLst>
        </pc:picChg>
        <pc:picChg chg="add del">
          <ac:chgData name="Vishal Khatal" userId="bab0fa6e-5dcd-45b8-9ebb-6a8f8382e55d" providerId="ADAL" clId="{311DB671-DF99-4287-901D-38863FC76E14}" dt="2018-08-31T04:11:24.210" v="14"/>
          <ac:picMkLst>
            <pc:docMk/>
            <pc:sldMk cId="342433294" sldId="1338"/>
            <ac:picMk id="67" creationId="{2897127E-6CEF-446C-BE87-93B7C46E49D1}"/>
          </ac:picMkLst>
        </pc:picChg>
        <pc:picChg chg="add del mod">
          <ac:chgData name="Vishal Khatal" userId="bab0fa6e-5dcd-45b8-9ebb-6a8f8382e55d" providerId="ADAL" clId="{311DB671-DF99-4287-901D-38863FC76E14}" dt="2018-08-31T04:21:11.692" v="140" actId="478"/>
          <ac:picMkLst>
            <pc:docMk/>
            <pc:sldMk cId="342433294" sldId="1338"/>
            <ac:picMk id="72" creationId="{B5598154-2D6E-4327-90F5-C54C7C3E2825}"/>
          </ac:picMkLst>
        </pc:picChg>
        <pc:picChg chg="add del">
          <ac:chgData name="Vishal Khatal" userId="bab0fa6e-5dcd-45b8-9ebb-6a8f8382e55d" providerId="ADAL" clId="{311DB671-DF99-4287-901D-38863FC76E14}" dt="2018-08-31T04:20:01.787" v="128" actId="26606"/>
          <ac:picMkLst>
            <pc:docMk/>
            <pc:sldMk cId="342433294" sldId="1338"/>
            <ac:picMk id="77" creationId="{012FDCFE-9AD2-4D8A-8CBF-B3AA37EBF6DD}"/>
          </ac:picMkLst>
        </pc:picChg>
        <pc:picChg chg="add del">
          <ac:chgData name="Vishal Khatal" userId="bab0fa6e-5dcd-45b8-9ebb-6a8f8382e55d" providerId="ADAL" clId="{311DB671-DF99-4287-901D-38863FC76E14}" dt="2018-08-31T04:20:01.787" v="128" actId="26606"/>
          <ac:picMkLst>
            <pc:docMk/>
            <pc:sldMk cId="342433294" sldId="1338"/>
            <ac:picMk id="89" creationId="{39D1DDD4-5BB3-45BA-B9B3-06B62299AD79}"/>
          </ac:picMkLst>
        </pc:picChg>
        <pc:picChg chg="add del">
          <ac:chgData name="Vishal Khatal" userId="bab0fa6e-5dcd-45b8-9ebb-6a8f8382e55d" providerId="ADAL" clId="{311DB671-DF99-4287-901D-38863FC76E14}" dt="2018-08-31T04:20:01.755" v="127" actId="26606"/>
          <ac:picMkLst>
            <pc:docMk/>
            <pc:sldMk cId="342433294" sldId="1338"/>
            <ac:picMk id="98" creationId="{012FDCFE-9AD2-4D8A-8CBF-B3AA37EBF6DD}"/>
          </ac:picMkLst>
        </pc:picChg>
        <pc:picChg chg="add del">
          <ac:chgData name="Vishal Khatal" userId="bab0fa6e-5dcd-45b8-9ebb-6a8f8382e55d" providerId="ADAL" clId="{311DB671-DF99-4287-901D-38863FC76E14}" dt="2018-08-31T04:21:59.824" v="154" actId="26606"/>
          <ac:picMkLst>
            <pc:docMk/>
            <pc:sldMk cId="342433294" sldId="1338"/>
            <ac:picMk id="107" creationId="{012FDCFE-9AD2-4D8A-8CBF-B3AA37EBF6DD}"/>
          </ac:picMkLst>
        </pc:picChg>
        <pc:picChg chg="add del">
          <ac:chgData name="Vishal Khatal" userId="bab0fa6e-5dcd-45b8-9ebb-6a8f8382e55d" providerId="ADAL" clId="{311DB671-DF99-4287-901D-38863FC76E14}" dt="2018-08-31T04:21:58.184" v="151" actId="26606"/>
          <ac:picMkLst>
            <pc:docMk/>
            <pc:sldMk cId="342433294" sldId="1338"/>
            <ac:picMk id="117" creationId="{012FDCFE-9AD2-4D8A-8CBF-B3AA37EBF6DD}"/>
          </ac:picMkLst>
        </pc:picChg>
        <pc:picChg chg="add del">
          <ac:chgData name="Vishal Khatal" userId="bab0fa6e-5dcd-45b8-9ebb-6a8f8382e55d" providerId="ADAL" clId="{311DB671-DF99-4287-901D-38863FC76E14}" dt="2018-08-31T04:21:59.792" v="153" actId="26606"/>
          <ac:picMkLst>
            <pc:docMk/>
            <pc:sldMk cId="342433294" sldId="1338"/>
            <ac:picMk id="129" creationId="{39D1DDD4-5BB3-45BA-B9B3-06B62299AD79}"/>
          </ac:picMkLst>
        </pc:picChg>
        <pc:picChg chg="add del">
          <ac:chgData name="Vishal Khatal" userId="bab0fa6e-5dcd-45b8-9ebb-6a8f8382e55d" providerId="ADAL" clId="{311DB671-DF99-4287-901D-38863FC76E14}" dt="2018-08-31T04:21:59.792" v="153" actId="26606"/>
          <ac:picMkLst>
            <pc:docMk/>
            <pc:sldMk cId="342433294" sldId="1338"/>
            <ac:picMk id="132" creationId="{012FDCFE-9AD2-4D8A-8CBF-B3AA37EBF6DD}"/>
          </ac:picMkLst>
        </pc:picChg>
        <pc:picChg chg="add">
          <ac:chgData name="Vishal Khatal" userId="bab0fa6e-5dcd-45b8-9ebb-6a8f8382e55d" providerId="ADAL" clId="{311DB671-DF99-4287-901D-38863FC76E14}" dt="2018-08-31T04:21:59.824" v="154" actId="26606"/>
          <ac:picMkLst>
            <pc:docMk/>
            <pc:sldMk cId="342433294" sldId="1338"/>
            <ac:picMk id="140" creationId="{012FDCFE-9AD2-4D8A-8CBF-B3AA37EBF6DD}"/>
          </ac:picMkLst>
        </pc:picChg>
        <pc:cxnChg chg="add del">
          <ac:chgData name="Vishal Khatal" userId="bab0fa6e-5dcd-45b8-9ebb-6a8f8382e55d" providerId="ADAL" clId="{311DB671-DF99-4287-901D-38863FC76E14}" dt="2018-08-31T04:20:01.787" v="128" actId="26606"/>
          <ac:cxnSpMkLst>
            <pc:docMk/>
            <pc:sldMk cId="342433294" sldId="1338"/>
            <ac:cxnSpMk id="79" creationId="{FBD463FC-4CA8-4FF4-85A3-AF9F4B98D210}"/>
          </ac:cxnSpMkLst>
        </pc:cxnChg>
        <pc:cxnChg chg="add del">
          <ac:chgData name="Vishal Khatal" userId="bab0fa6e-5dcd-45b8-9ebb-6a8f8382e55d" providerId="ADAL" clId="{311DB671-DF99-4287-901D-38863FC76E14}" dt="2018-08-31T04:20:01.787" v="128" actId="26606"/>
          <ac:cxnSpMkLst>
            <pc:docMk/>
            <pc:sldMk cId="342433294" sldId="1338"/>
            <ac:cxnSpMk id="81" creationId="{A56012FD-74A8-4C91-B318-435CF2B71927}"/>
          </ac:cxnSpMkLst>
        </pc:cxnChg>
        <pc:cxnChg chg="add del">
          <ac:chgData name="Vishal Khatal" userId="bab0fa6e-5dcd-45b8-9ebb-6a8f8382e55d" providerId="ADAL" clId="{311DB671-DF99-4287-901D-38863FC76E14}" dt="2018-08-31T04:20:01.787" v="128" actId="26606"/>
          <ac:cxnSpMkLst>
            <pc:docMk/>
            <pc:sldMk cId="342433294" sldId="1338"/>
            <ac:cxnSpMk id="85" creationId="{C884B8F8-FDC9-498B-9960-5D7260AFCB03}"/>
          </ac:cxnSpMkLst>
        </pc:cxnChg>
        <pc:cxnChg chg="add del">
          <ac:chgData name="Vishal Khatal" userId="bab0fa6e-5dcd-45b8-9ebb-6a8f8382e55d" providerId="ADAL" clId="{311DB671-DF99-4287-901D-38863FC76E14}" dt="2018-08-31T04:20:01.787" v="128" actId="26606"/>
          <ac:cxnSpMkLst>
            <pc:docMk/>
            <pc:sldMk cId="342433294" sldId="1338"/>
            <ac:cxnSpMk id="91" creationId="{A24DAE64-2302-42EA-8239-F2F0775CA5AD}"/>
          </ac:cxnSpMkLst>
        </pc:cxnChg>
        <pc:cxnChg chg="add del">
          <ac:chgData name="Vishal Khatal" userId="bab0fa6e-5dcd-45b8-9ebb-6a8f8382e55d" providerId="ADAL" clId="{311DB671-DF99-4287-901D-38863FC76E14}" dt="2018-08-31T04:20:01.755" v="127" actId="26606"/>
          <ac:cxnSpMkLst>
            <pc:docMk/>
            <pc:sldMk cId="342433294" sldId="1338"/>
            <ac:cxnSpMk id="100" creationId="{FBD463FC-4CA8-4FF4-85A3-AF9F4B98D210}"/>
          </ac:cxnSpMkLst>
        </pc:cxnChg>
        <pc:cxnChg chg="add del">
          <ac:chgData name="Vishal Khatal" userId="bab0fa6e-5dcd-45b8-9ebb-6a8f8382e55d" providerId="ADAL" clId="{311DB671-DF99-4287-901D-38863FC76E14}" dt="2018-08-31T04:20:01.755" v="127" actId="26606"/>
          <ac:cxnSpMkLst>
            <pc:docMk/>
            <pc:sldMk cId="342433294" sldId="1338"/>
            <ac:cxnSpMk id="102" creationId="{A56012FD-74A8-4C91-B318-435CF2B71927}"/>
          </ac:cxnSpMkLst>
        </pc:cxnChg>
        <pc:cxnChg chg="add del">
          <ac:chgData name="Vishal Khatal" userId="bab0fa6e-5dcd-45b8-9ebb-6a8f8382e55d" providerId="ADAL" clId="{311DB671-DF99-4287-901D-38863FC76E14}" dt="2018-08-31T04:21:59.824" v="154" actId="26606"/>
          <ac:cxnSpMkLst>
            <pc:docMk/>
            <pc:sldMk cId="342433294" sldId="1338"/>
            <ac:cxnSpMk id="106" creationId="{373AAE2E-5D6B-4952-A4BB-546C49F8DE4B}"/>
          </ac:cxnSpMkLst>
        </pc:cxnChg>
        <pc:cxnChg chg="add del">
          <ac:chgData name="Vishal Khatal" userId="bab0fa6e-5dcd-45b8-9ebb-6a8f8382e55d" providerId="ADAL" clId="{311DB671-DF99-4287-901D-38863FC76E14}" dt="2018-08-31T04:21:59.824" v="154" actId="26606"/>
          <ac:cxnSpMkLst>
            <pc:docMk/>
            <pc:sldMk cId="342433294" sldId="1338"/>
            <ac:cxnSpMk id="109" creationId="{FBD463FC-4CA8-4FF4-85A3-AF9F4B98D210}"/>
          </ac:cxnSpMkLst>
        </pc:cxnChg>
        <pc:cxnChg chg="add del">
          <ac:chgData name="Vishal Khatal" userId="bab0fa6e-5dcd-45b8-9ebb-6a8f8382e55d" providerId="ADAL" clId="{311DB671-DF99-4287-901D-38863FC76E14}" dt="2018-08-31T04:21:59.824" v="154" actId="26606"/>
          <ac:cxnSpMkLst>
            <pc:docMk/>
            <pc:sldMk cId="342433294" sldId="1338"/>
            <ac:cxnSpMk id="110" creationId="{A56012FD-74A8-4C91-B318-435CF2B71927}"/>
          </ac:cxnSpMkLst>
        </pc:cxnChg>
        <pc:cxnChg chg="add del">
          <ac:chgData name="Vishal Khatal" userId="bab0fa6e-5dcd-45b8-9ebb-6a8f8382e55d" providerId="ADAL" clId="{311DB671-DF99-4287-901D-38863FC76E14}" dt="2018-08-31T04:21:58.184" v="151" actId="26606"/>
          <ac:cxnSpMkLst>
            <pc:docMk/>
            <pc:sldMk cId="342433294" sldId="1338"/>
            <ac:cxnSpMk id="119" creationId="{FBD463FC-4CA8-4FF4-85A3-AF9F4B98D210}"/>
          </ac:cxnSpMkLst>
        </pc:cxnChg>
        <pc:cxnChg chg="add del">
          <ac:chgData name="Vishal Khatal" userId="bab0fa6e-5dcd-45b8-9ebb-6a8f8382e55d" providerId="ADAL" clId="{311DB671-DF99-4287-901D-38863FC76E14}" dt="2018-08-31T04:21:58.184" v="151" actId="26606"/>
          <ac:cxnSpMkLst>
            <pc:docMk/>
            <pc:sldMk cId="342433294" sldId="1338"/>
            <ac:cxnSpMk id="121" creationId="{A56012FD-74A8-4C91-B318-435CF2B71927}"/>
          </ac:cxnSpMkLst>
        </pc:cxnChg>
        <pc:cxnChg chg="add del">
          <ac:chgData name="Vishal Khatal" userId="bab0fa6e-5dcd-45b8-9ebb-6a8f8382e55d" providerId="ADAL" clId="{311DB671-DF99-4287-901D-38863FC76E14}" dt="2018-08-31T04:21:58.184" v="151" actId="26606"/>
          <ac:cxnSpMkLst>
            <pc:docMk/>
            <pc:sldMk cId="342433294" sldId="1338"/>
            <ac:cxnSpMk id="125" creationId="{373AAE2E-5D6B-4952-A4BB-546C49F8DE4B}"/>
          </ac:cxnSpMkLst>
        </pc:cxnChg>
        <pc:cxnChg chg="add del">
          <ac:chgData name="Vishal Khatal" userId="bab0fa6e-5dcd-45b8-9ebb-6a8f8382e55d" providerId="ADAL" clId="{311DB671-DF99-4287-901D-38863FC76E14}" dt="2018-08-31T04:21:59.792" v="153" actId="26606"/>
          <ac:cxnSpMkLst>
            <pc:docMk/>
            <pc:sldMk cId="342433294" sldId="1338"/>
            <ac:cxnSpMk id="131" creationId="{A24DAE64-2302-42EA-8239-F2F0775CA5AD}"/>
          </ac:cxnSpMkLst>
        </pc:cxnChg>
        <pc:cxnChg chg="add del">
          <ac:chgData name="Vishal Khatal" userId="bab0fa6e-5dcd-45b8-9ebb-6a8f8382e55d" providerId="ADAL" clId="{311DB671-DF99-4287-901D-38863FC76E14}" dt="2018-08-31T04:21:59.792" v="153" actId="26606"/>
          <ac:cxnSpMkLst>
            <pc:docMk/>
            <pc:sldMk cId="342433294" sldId="1338"/>
            <ac:cxnSpMk id="133" creationId="{FBD463FC-4CA8-4FF4-85A3-AF9F4B98D210}"/>
          </ac:cxnSpMkLst>
        </pc:cxnChg>
        <pc:cxnChg chg="add del">
          <ac:chgData name="Vishal Khatal" userId="bab0fa6e-5dcd-45b8-9ebb-6a8f8382e55d" providerId="ADAL" clId="{311DB671-DF99-4287-901D-38863FC76E14}" dt="2018-08-31T04:21:59.792" v="153" actId="26606"/>
          <ac:cxnSpMkLst>
            <pc:docMk/>
            <pc:sldMk cId="342433294" sldId="1338"/>
            <ac:cxnSpMk id="134" creationId="{A56012FD-74A8-4C91-B318-435CF2B71927}"/>
          </ac:cxnSpMkLst>
        </pc:cxnChg>
        <pc:cxnChg chg="add del">
          <ac:chgData name="Vishal Khatal" userId="bab0fa6e-5dcd-45b8-9ebb-6a8f8382e55d" providerId="ADAL" clId="{311DB671-DF99-4287-901D-38863FC76E14}" dt="2018-08-31T04:21:59.792" v="153" actId="26606"/>
          <ac:cxnSpMkLst>
            <pc:docMk/>
            <pc:sldMk cId="342433294" sldId="1338"/>
            <ac:cxnSpMk id="136" creationId="{C884B8F8-FDC9-498B-9960-5D7260AFCB03}"/>
          </ac:cxnSpMkLst>
        </pc:cxnChg>
        <pc:cxnChg chg="add">
          <ac:chgData name="Vishal Khatal" userId="bab0fa6e-5dcd-45b8-9ebb-6a8f8382e55d" providerId="ADAL" clId="{311DB671-DF99-4287-901D-38863FC76E14}" dt="2018-08-31T04:21:59.824" v="154" actId="26606"/>
          <ac:cxnSpMkLst>
            <pc:docMk/>
            <pc:sldMk cId="342433294" sldId="1338"/>
            <ac:cxnSpMk id="141" creationId="{FBD463FC-4CA8-4FF4-85A3-AF9F4B98D210}"/>
          </ac:cxnSpMkLst>
        </pc:cxnChg>
        <pc:cxnChg chg="add">
          <ac:chgData name="Vishal Khatal" userId="bab0fa6e-5dcd-45b8-9ebb-6a8f8382e55d" providerId="ADAL" clId="{311DB671-DF99-4287-901D-38863FC76E14}" dt="2018-08-31T04:21:59.824" v="154" actId="26606"/>
          <ac:cxnSpMkLst>
            <pc:docMk/>
            <pc:sldMk cId="342433294" sldId="1338"/>
            <ac:cxnSpMk id="142" creationId="{A56012FD-74A8-4C91-B318-435CF2B71927}"/>
          </ac:cxnSpMkLst>
        </pc:cxnChg>
        <pc:cxnChg chg="add">
          <ac:chgData name="Vishal Khatal" userId="bab0fa6e-5dcd-45b8-9ebb-6a8f8382e55d" providerId="ADAL" clId="{311DB671-DF99-4287-901D-38863FC76E14}" dt="2018-08-31T04:21:59.824" v="154" actId="26606"/>
          <ac:cxnSpMkLst>
            <pc:docMk/>
            <pc:sldMk cId="342433294" sldId="1338"/>
            <ac:cxnSpMk id="144" creationId="{373AAE2E-5D6B-4952-A4BB-546C49F8DE4B}"/>
          </ac:cxnSpMkLst>
        </pc:cxnChg>
      </pc:sldChg>
      <pc:sldChg chg="add del">
        <pc:chgData name="Vishal Khatal" userId="bab0fa6e-5dcd-45b8-9ebb-6a8f8382e55d" providerId="ADAL" clId="{311DB671-DF99-4287-901D-38863FC76E14}" dt="2018-08-31T04:23:08.830" v="171" actId="2696"/>
        <pc:sldMkLst>
          <pc:docMk/>
          <pc:sldMk cId="4261587681" sldId="1479"/>
        </pc:sldMkLst>
      </pc:sldChg>
      <pc:sldChg chg="del">
        <pc:chgData name="Vishal Khatal" userId="bab0fa6e-5dcd-45b8-9ebb-6a8f8382e55d" providerId="ADAL" clId="{311DB671-DF99-4287-901D-38863FC76E14}" dt="2018-08-31T04:19:03.945" v="123" actId="2696"/>
        <pc:sldMkLst>
          <pc:docMk/>
          <pc:sldMk cId="2883632831" sldId="1488"/>
        </pc:sldMkLst>
      </pc:sldChg>
      <pc:sldChg chg="modSp del">
        <pc:chgData name="Vishal Khatal" userId="bab0fa6e-5dcd-45b8-9ebb-6a8f8382e55d" providerId="ADAL" clId="{311DB671-DF99-4287-901D-38863FC76E14}" dt="2018-08-31T04:14:58.905" v="76" actId="2696"/>
        <pc:sldMkLst>
          <pc:docMk/>
          <pc:sldMk cId="2034109375" sldId="1492"/>
        </pc:sldMkLst>
        <pc:spChg chg="mod">
          <ac:chgData name="Vishal Khatal" userId="bab0fa6e-5dcd-45b8-9ebb-6a8f8382e55d" providerId="ADAL" clId="{311DB671-DF99-4287-901D-38863FC76E14}" dt="2018-08-31T04:11:56.215" v="31" actId="27636"/>
          <ac:spMkLst>
            <pc:docMk/>
            <pc:sldMk cId="2034109375" sldId="1492"/>
            <ac:spMk id="10" creationId="{228658DC-0F1B-42E1-AC85-0E3C0B5FFAC2}"/>
          </ac:spMkLst>
        </pc:spChg>
      </pc:sldChg>
      <pc:sldChg chg="del">
        <pc:chgData name="Vishal Khatal" userId="bab0fa6e-5dcd-45b8-9ebb-6a8f8382e55d" providerId="ADAL" clId="{311DB671-DF99-4287-901D-38863FC76E14}" dt="2018-08-31T04:17:28.307" v="104" actId="2696"/>
        <pc:sldMkLst>
          <pc:docMk/>
          <pc:sldMk cId="2369885634" sldId="1493"/>
        </pc:sldMkLst>
      </pc:sldChg>
      <pc:sldChg chg="del">
        <pc:chgData name="Vishal Khatal" userId="bab0fa6e-5dcd-45b8-9ebb-6a8f8382e55d" providerId="ADAL" clId="{311DB671-DF99-4287-901D-38863FC76E14}" dt="2018-08-31T04:14:13.705" v="69" actId="2696"/>
        <pc:sldMkLst>
          <pc:docMk/>
          <pc:sldMk cId="4042410083" sldId="1496"/>
        </pc:sldMkLst>
      </pc:sldChg>
      <pc:sldChg chg="del">
        <pc:chgData name="Vishal Khatal" userId="bab0fa6e-5dcd-45b8-9ebb-6a8f8382e55d" providerId="ADAL" clId="{311DB671-DF99-4287-901D-38863FC76E14}" dt="2018-08-31T04:12:50.974" v="46" actId="2696"/>
        <pc:sldMkLst>
          <pc:docMk/>
          <pc:sldMk cId="3288284469" sldId="1498"/>
        </pc:sldMkLst>
      </pc:sldChg>
      <pc:sldChg chg="modSp">
        <pc:chgData name="Vishal Khatal" userId="bab0fa6e-5dcd-45b8-9ebb-6a8f8382e55d" providerId="ADAL" clId="{311DB671-DF99-4287-901D-38863FC76E14}" dt="2018-08-31T04:17:15.262" v="103" actId="14100"/>
        <pc:sldMkLst>
          <pc:docMk/>
          <pc:sldMk cId="2877991806" sldId="1499"/>
        </pc:sldMkLst>
        <pc:spChg chg="mod">
          <ac:chgData name="Vishal Khatal" userId="bab0fa6e-5dcd-45b8-9ebb-6a8f8382e55d" providerId="ADAL" clId="{311DB671-DF99-4287-901D-38863FC76E14}" dt="2018-08-31T04:11:26.593" v="18" actId="27636"/>
          <ac:spMkLst>
            <pc:docMk/>
            <pc:sldMk cId="2877991806" sldId="1499"/>
            <ac:spMk id="3" creationId="{90F8BF1F-BDA1-4947-919F-06E56B6E514F}"/>
          </ac:spMkLst>
        </pc:spChg>
        <pc:picChg chg="mod">
          <ac:chgData name="Vishal Khatal" userId="bab0fa6e-5dcd-45b8-9ebb-6a8f8382e55d" providerId="ADAL" clId="{311DB671-DF99-4287-901D-38863FC76E14}" dt="2018-08-31T04:17:15.262" v="103" actId="14100"/>
          <ac:picMkLst>
            <pc:docMk/>
            <pc:sldMk cId="2877991806" sldId="1499"/>
            <ac:picMk id="5" creationId="{C9121D9E-8626-4CEF-8E67-24DD83800F5B}"/>
          </ac:picMkLst>
        </pc:picChg>
      </pc:sldChg>
      <pc:sldChg chg="modSp">
        <pc:chgData name="Vishal Khatal" userId="bab0fa6e-5dcd-45b8-9ebb-6a8f8382e55d" providerId="ADAL" clId="{311DB671-DF99-4287-901D-38863FC76E14}" dt="2018-08-31T04:11:56.225" v="32" actId="27636"/>
        <pc:sldMkLst>
          <pc:docMk/>
          <pc:sldMk cId="1705242201" sldId="1500"/>
        </pc:sldMkLst>
        <pc:spChg chg="mod">
          <ac:chgData name="Vishal Khatal" userId="bab0fa6e-5dcd-45b8-9ebb-6a8f8382e55d" providerId="ADAL" clId="{311DB671-DF99-4287-901D-38863FC76E14}" dt="2018-08-31T04:11:56.225" v="32" actId="27636"/>
          <ac:spMkLst>
            <pc:docMk/>
            <pc:sldMk cId="1705242201" sldId="1500"/>
            <ac:spMk id="2" creationId="{51D44EAE-58F4-4178-BDB1-A79878D1C99C}"/>
          </ac:spMkLst>
        </pc:spChg>
      </pc:sldChg>
      <pc:sldChg chg="addSp delSp modSp add ord">
        <pc:chgData name="Vishal Khatal" userId="bab0fa6e-5dcd-45b8-9ebb-6a8f8382e55d" providerId="ADAL" clId="{311DB671-DF99-4287-901D-38863FC76E14}" dt="2018-08-31T04:18:24.330" v="114" actId="14100"/>
        <pc:sldMkLst>
          <pc:docMk/>
          <pc:sldMk cId="334757286" sldId="1501"/>
        </pc:sldMkLst>
        <pc:spChg chg="mod">
          <ac:chgData name="Vishal Khatal" userId="bab0fa6e-5dcd-45b8-9ebb-6a8f8382e55d" providerId="ADAL" clId="{311DB671-DF99-4287-901D-38863FC76E14}" dt="2018-08-31T04:14:10.655" v="68" actId="1076"/>
          <ac:spMkLst>
            <pc:docMk/>
            <pc:sldMk cId="334757286" sldId="1501"/>
            <ac:spMk id="2" creationId="{3ADFA8AB-0E54-4281-A697-FAD89A142DA0}"/>
          </ac:spMkLst>
        </pc:spChg>
        <pc:spChg chg="del mod">
          <ac:chgData name="Vishal Khatal" userId="bab0fa6e-5dcd-45b8-9ebb-6a8f8382e55d" providerId="ADAL" clId="{311DB671-DF99-4287-901D-38863FC76E14}" dt="2018-08-31T04:13:19.057" v="52"/>
          <ac:spMkLst>
            <pc:docMk/>
            <pc:sldMk cId="334757286" sldId="1501"/>
            <ac:spMk id="3" creationId="{90F8BF1F-BDA1-4947-919F-06E56B6E514F}"/>
          </ac:spMkLst>
        </pc:spChg>
        <pc:spChg chg="del mod">
          <ac:chgData name="Vishal Khatal" userId="bab0fa6e-5dcd-45b8-9ebb-6a8f8382e55d" providerId="ADAL" clId="{311DB671-DF99-4287-901D-38863FC76E14}" dt="2018-08-31T04:13:40.035" v="63"/>
          <ac:spMkLst>
            <pc:docMk/>
            <pc:sldMk cId="334757286" sldId="1501"/>
            <ac:spMk id="6" creationId="{2A737BE3-013D-47FD-87D2-1C850FBE7794}"/>
          </ac:spMkLst>
        </pc:spChg>
        <pc:picChg chg="del">
          <ac:chgData name="Vishal Khatal" userId="bab0fa6e-5dcd-45b8-9ebb-6a8f8382e55d" providerId="ADAL" clId="{311DB671-DF99-4287-901D-38863FC76E14}" dt="2018-08-31T04:13:17.631" v="51" actId="478"/>
          <ac:picMkLst>
            <pc:docMk/>
            <pc:sldMk cId="334757286" sldId="1501"/>
            <ac:picMk id="5" creationId="{C9121D9E-8626-4CEF-8E67-24DD83800F5B}"/>
          </ac:picMkLst>
        </pc:picChg>
        <pc:picChg chg="add mod">
          <ac:chgData name="Vishal Khatal" userId="bab0fa6e-5dcd-45b8-9ebb-6a8f8382e55d" providerId="ADAL" clId="{311DB671-DF99-4287-901D-38863FC76E14}" dt="2018-08-31T04:18:24.330" v="114" actId="14100"/>
          <ac:picMkLst>
            <pc:docMk/>
            <pc:sldMk cId="334757286" sldId="1501"/>
            <ac:picMk id="7" creationId="{E731FF8E-68BF-48DA-A623-442F09C437FE}"/>
          </ac:picMkLst>
        </pc:picChg>
      </pc:sldChg>
      <pc:sldChg chg="addSp delSp modSp add">
        <pc:chgData name="Vishal Khatal" userId="bab0fa6e-5dcd-45b8-9ebb-6a8f8382e55d" providerId="ADAL" clId="{311DB671-DF99-4287-901D-38863FC76E14}" dt="2018-08-31T04:14:54.748" v="75"/>
        <pc:sldMkLst>
          <pc:docMk/>
          <pc:sldMk cId="715664233" sldId="1502"/>
        </pc:sldMkLst>
        <pc:spChg chg="mod">
          <ac:chgData name="Vishal Khatal" userId="bab0fa6e-5dcd-45b8-9ebb-6a8f8382e55d" providerId="ADAL" clId="{311DB671-DF99-4287-901D-38863FC76E14}" dt="2018-08-31T04:14:54.748" v="75"/>
          <ac:spMkLst>
            <pc:docMk/>
            <pc:sldMk cId="715664233" sldId="1502"/>
            <ac:spMk id="2" creationId="{3ADFA8AB-0E54-4281-A697-FAD89A142DA0}"/>
          </ac:spMkLst>
        </pc:spChg>
        <pc:spChg chg="add mod">
          <ac:chgData name="Vishal Khatal" userId="bab0fa6e-5dcd-45b8-9ebb-6a8f8382e55d" providerId="ADAL" clId="{311DB671-DF99-4287-901D-38863FC76E14}" dt="2018-08-31T04:14:22.320" v="71" actId="478"/>
          <ac:spMkLst>
            <pc:docMk/>
            <pc:sldMk cId="715664233" sldId="1502"/>
            <ac:spMk id="4" creationId="{15BCFA5C-416D-47AD-AFC8-82EE48C21E19}"/>
          </ac:spMkLst>
        </pc:spChg>
        <pc:picChg chg="add mod">
          <ac:chgData name="Vishal Khatal" userId="bab0fa6e-5dcd-45b8-9ebb-6a8f8382e55d" providerId="ADAL" clId="{311DB671-DF99-4287-901D-38863FC76E14}" dt="2018-08-31T04:14:29.042" v="74" actId="14100"/>
          <ac:picMkLst>
            <pc:docMk/>
            <pc:sldMk cId="715664233" sldId="1502"/>
            <ac:picMk id="6" creationId="{668FC915-EEB6-4F4D-B8F9-19864C146A07}"/>
          </ac:picMkLst>
        </pc:picChg>
        <pc:picChg chg="del">
          <ac:chgData name="Vishal Khatal" userId="bab0fa6e-5dcd-45b8-9ebb-6a8f8382e55d" providerId="ADAL" clId="{311DB671-DF99-4287-901D-38863FC76E14}" dt="2018-08-31T04:14:22.320" v="71" actId="478"/>
          <ac:picMkLst>
            <pc:docMk/>
            <pc:sldMk cId="715664233" sldId="1502"/>
            <ac:picMk id="7" creationId="{E731FF8E-68BF-48DA-A623-442F09C437FE}"/>
          </ac:picMkLst>
        </pc:picChg>
      </pc:sldChg>
      <pc:sldChg chg="addSp delSp modSp add">
        <pc:chgData name="Vishal Khatal" userId="bab0fa6e-5dcd-45b8-9ebb-6a8f8382e55d" providerId="ADAL" clId="{311DB671-DF99-4287-901D-38863FC76E14}" dt="2018-08-31T04:17:48.443" v="109" actId="1076"/>
        <pc:sldMkLst>
          <pc:docMk/>
          <pc:sldMk cId="1335123930" sldId="1503"/>
        </pc:sldMkLst>
        <pc:spChg chg="mod">
          <ac:chgData name="Vishal Khatal" userId="bab0fa6e-5dcd-45b8-9ebb-6a8f8382e55d" providerId="ADAL" clId="{311DB671-DF99-4287-901D-38863FC76E14}" dt="2018-08-31T04:17:00.385" v="101" actId="1076"/>
          <ac:spMkLst>
            <pc:docMk/>
            <pc:sldMk cId="1335123930" sldId="1503"/>
            <ac:spMk id="2" creationId="{3ADFA8AB-0E54-4281-A697-FAD89A142DA0}"/>
          </ac:spMkLst>
        </pc:spChg>
        <pc:spChg chg="add mod">
          <ac:chgData name="Vishal Khatal" userId="bab0fa6e-5dcd-45b8-9ebb-6a8f8382e55d" providerId="ADAL" clId="{311DB671-DF99-4287-901D-38863FC76E14}" dt="2018-08-31T04:16:41.338" v="85" actId="478"/>
          <ac:spMkLst>
            <pc:docMk/>
            <pc:sldMk cId="1335123930" sldId="1503"/>
            <ac:spMk id="4" creationId="{7B8A4442-979E-4897-9205-7B6550ED2546}"/>
          </ac:spMkLst>
        </pc:spChg>
        <pc:picChg chg="add mod">
          <ac:chgData name="Vishal Khatal" userId="bab0fa6e-5dcd-45b8-9ebb-6a8f8382e55d" providerId="ADAL" clId="{311DB671-DF99-4287-901D-38863FC76E14}" dt="2018-08-31T04:17:48.443" v="109" actId="1076"/>
          <ac:picMkLst>
            <pc:docMk/>
            <pc:sldMk cId="1335123930" sldId="1503"/>
            <ac:picMk id="6" creationId="{F2579032-1666-4211-890C-D9BACA3F49A5}"/>
          </ac:picMkLst>
        </pc:picChg>
        <pc:picChg chg="del">
          <ac:chgData name="Vishal Khatal" userId="bab0fa6e-5dcd-45b8-9ebb-6a8f8382e55d" providerId="ADAL" clId="{311DB671-DF99-4287-901D-38863FC76E14}" dt="2018-08-31T04:16:41.338" v="85" actId="478"/>
          <ac:picMkLst>
            <pc:docMk/>
            <pc:sldMk cId="1335123930" sldId="1503"/>
            <ac:picMk id="7" creationId="{E731FF8E-68BF-48DA-A623-442F09C437FE}"/>
          </ac:picMkLst>
        </pc:picChg>
      </pc:sldChg>
      <pc:sldChg chg="addSp delSp modSp add del">
        <pc:chgData name="Vishal Khatal" userId="bab0fa6e-5dcd-45b8-9ebb-6a8f8382e55d" providerId="ADAL" clId="{311DB671-DF99-4287-901D-38863FC76E14}" dt="2018-08-31T04:16:24.912" v="83" actId="2696"/>
        <pc:sldMkLst>
          <pc:docMk/>
          <pc:sldMk cId="3197498265" sldId="1503"/>
        </pc:sldMkLst>
        <pc:spChg chg="mod">
          <ac:chgData name="Vishal Khatal" userId="bab0fa6e-5dcd-45b8-9ebb-6a8f8382e55d" providerId="ADAL" clId="{311DB671-DF99-4287-901D-38863FC76E14}" dt="2018-08-31T04:16:21.607" v="82" actId="6549"/>
          <ac:spMkLst>
            <pc:docMk/>
            <pc:sldMk cId="3197498265" sldId="1503"/>
            <ac:spMk id="2" creationId="{3ADFA8AB-0E54-4281-A697-FAD89A142DA0}"/>
          </ac:spMkLst>
        </pc:spChg>
        <pc:spChg chg="del mod">
          <ac:chgData name="Vishal Khatal" userId="bab0fa6e-5dcd-45b8-9ebb-6a8f8382e55d" providerId="ADAL" clId="{311DB671-DF99-4287-901D-38863FC76E14}" dt="2018-08-31T04:16:17.406" v="81"/>
          <ac:spMkLst>
            <pc:docMk/>
            <pc:sldMk cId="3197498265" sldId="1503"/>
            <ac:spMk id="4" creationId="{15BCFA5C-416D-47AD-AFC8-82EE48C21E19}"/>
          </ac:spMkLst>
        </pc:spChg>
        <pc:picChg chg="add mod">
          <ac:chgData name="Vishal Khatal" userId="bab0fa6e-5dcd-45b8-9ebb-6a8f8382e55d" providerId="ADAL" clId="{311DB671-DF99-4287-901D-38863FC76E14}" dt="2018-08-31T04:16:17.406" v="81"/>
          <ac:picMkLst>
            <pc:docMk/>
            <pc:sldMk cId="3197498265" sldId="1503"/>
            <ac:picMk id="3" creationId="{B3A6CC5A-3553-4215-9F9A-09F40F0D5EC7}"/>
          </ac:picMkLst>
        </pc:picChg>
        <pc:picChg chg="del">
          <ac:chgData name="Vishal Khatal" userId="bab0fa6e-5dcd-45b8-9ebb-6a8f8382e55d" providerId="ADAL" clId="{311DB671-DF99-4287-901D-38863FC76E14}" dt="2018-08-31T04:16:08.192" v="78" actId="478"/>
          <ac:picMkLst>
            <pc:docMk/>
            <pc:sldMk cId="3197498265" sldId="1503"/>
            <ac:picMk id="6" creationId="{668FC915-EEB6-4F4D-B8F9-19864C146A07}"/>
          </ac:picMkLst>
        </pc:picChg>
      </pc:sldChg>
      <pc:sldChg chg="addSp delSp add del">
        <pc:chgData name="Vishal Khatal" userId="bab0fa6e-5dcd-45b8-9ebb-6a8f8382e55d" providerId="ADAL" clId="{311DB671-DF99-4287-901D-38863FC76E14}" dt="2018-08-31T04:17:58.222" v="110" actId="2696"/>
        <pc:sldMkLst>
          <pc:docMk/>
          <pc:sldMk cId="2743750114" sldId="1504"/>
        </pc:sldMkLst>
        <pc:picChg chg="add">
          <ac:chgData name="Vishal Khatal" userId="bab0fa6e-5dcd-45b8-9ebb-6a8f8382e55d" providerId="ADAL" clId="{311DB671-DF99-4287-901D-38863FC76E14}" dt="2018-08-31T04:17:42.183" v="108"/>
          <ac:picMkLst>
            <pc:docMk/>
            <pc:sldMk cId="2743750114" sldId="1504"/>
            <ac:picMk id="5" creationId="{6151996C-2CB0-46C5-8358-9155DD62A960}"/>
          </ac:picMkLst>
        </pc:picChg>
        <pc:picChg chg="del">
          <ac:chgData name="Vishal Khatal" userId="bab0fa6e-5dcd-45b8-9ebb-6a8f8382e55d" providerId="ADAL" clId="{311DB671-DF99-4287-901D-38863FC76E14}" dt="2018-08-31T04:17:41.308" v="107" actId="478"/>
          <ac:picMkLst>
            <pc:docMk/>
            <pc:sldMk cId="2743750114" sldId="1504"/>
            <ac:picMk id="6" creationId="{F2579032-1666-4211-890C-D9BACA3F49A5}"/>
          </ac:picMkLst>
        </pc:picChg>
      </pc:sldChg>
      <pc:sldChg chg="addSp delSp modSp add modTransition modAnim">
        <pc:chgData name="Vishal Khatal" userId="bab0fa6e-5dcd-45b8-9ebb-6a8f8382e55d" providerId="ADAL" clId="{311DB671-DF99-4287-901D-38863FC76E14}" dt="2018-08-31T04:26:04.164" v="187" actId="14100"/>
        <pc:sldMkLst>
          <pc:docMk/>
          <pc:sldMk cId="3534620996" sldId="1504"/>
        </pc:sldMkLst>
        <pc:spChg chg="mod">
          <ac:chgData name="Vishal Khatal" userId="bab0fa6e-5dcd-45b8-9ebb-6a8f8382e55d" providerId="ADAL" clId="{311DB671-DF99-4287-901D-38863FC76E14}" dt="2018-08-31T04:18:56.562" v="122" actId="27636"/>
          <ac:spMkLst>
            <pc:docMk/>
            <pc:sldMk cId="3534620996" sldId="1504"/>
            <ac:spMk id="2" creationId="{51D44EAE-58F4-4178-BDB1-A79878D1C99C}"/>
          </ac:spMkLst>
        </pc:spChg>
        <pc:spChg chg="add mod">
          <ac:chgData name="Vishal Khatal" userId="bab0fa6e-5dcd-45b8-9ebb-6a8f8382e55d" providerId="ADAL" clId="{311DB671-DF99-4287-901D-38863FC76E14}" dt="2018-08-31T04:18:46.983" v="116" actId="478"/>
          <ac:spMkLst>
            <pc:docMk/>
            <pc:sldMk cId="3534620996" sldId="1504"/>
            <ac:spMk id="4" creationId="{7A4E5B8E-F65A-4C0E-AF7D-DA49EB191926}"/>
          </ac:spMkLst>
        </pc:spChg>
        <pc:spChg chg="add mod">
          <ac:chgData name="Vishal Khatal" userId="bab0fa6e-5dcd-45b8-9ebb-6a8f8382e55d" providerId="ADAL" clId="{311DB671-DF99-4287-901D-38863FC76E14}" dt="2018-08-31T04:18:54.849" v="120"/>
          <ac:spMkLst>
            <pc:docMk/>
            <pc:sldMk cId="3534620996" sldId="1504"/>
            <ac:spMk id="6" creationId="{68F10CEC-33AF-4BF9-A470-6E4E57FA503D}"/>
          </ac:spMkLst>
        </pc:spChg>
        <pc:spChg chg="add">
          <ac:chgData name="Vishal Khatal" userId="bab0fa6e-5dcd-45b8-9ebb-6a8f8382e55d" providerId="ADAL" clId="{311DB671-DF99-4287-901D-38863FC76E14}" dt="2018-08-31T04:18:47.809" v="117"/>
          <ac:spMkLst>
            <pc:docMk/>
            <pc:sldMk cId="3534620996" sldId="1504"/>
            <ac:spMk id="7" creationId="{38B8DF41-B0A8-42C0-A339-9E0723464B8A}"/>
          </ac:spMkLst>
        </pc:spChg>
        <pc:spChg chg="add mod">
          <ac:chgData name="Vishal Khatal" userId="bab0fa6e-5dcd-45b8-9ebb-6a8f8382e55d" providerId="ADAL" clId="{311DB671-DF99-4287-901D-38863FC76E14}" dt="2018-08-31T04:23:36.913" v="177" actId="1076"/>
          <ac:spMkLst>
            <pc:docMk/>
            <pc:sldMk cId="3534620996" sldId="1504"/>
            <ac:spMk id="8" creationId="{DC139225-4FC4-4396-B673-76C3989564EE}"/>
          </ac:spMkLst>
        </pc:spChg>
        <pc:spChg chg="add mod">
          <ac:chgData name="Vishal Khatal" userId="bab0fa6e-5dcd-45b8-9ebb-6a8f8382e55d" providerId="ADAL" clId="{311DB671-DF99-4287-901D-38863FC76E14}" dt="2018-08-31T04:23:52.235" v="182" actId="1076"/>
          <ac:spMkLst>
            <pc:docMk/>
            <pc:sldMk cId="3534620996" sldId="1504"/>
            <ac:spMk id="12" creationId="{5C8BDCAB-65C1-41BF-A526-D534BBB62BD1}"/>
          </ac:spMkLst>
        </pc:spChg>
        <pc:spChg chg="add">
          <ac:chgData name="Vishal Khatal" userId="bab0fa6e-5dcd-45b8-9ebb-6a8f8382e55d" providerId="ADAL" clId="{311DB671-DF99-4287-901D-38863FC76E14}" dt="2018-08-31T04:18:47.809" v="117"/>
          <ac:spMkLst>
            <pc:docMk/>
            <pc:sldMk cId="3534620996" sldId="1504"/>
            <ac:spMk id="13" creationId="{54663D74-E631-4ABD-8407-E32599F036AE}"/>
          </ac:spMkLst>
        </pc:spChg>
        <pc:spChg chg="add mod">
          <ac:chgData name="Vishal Khatal" userId="bab0fa6e-5dcd-45b8-9ebb-6a8f8382e55d" providerId="ADAL" clId="{311DB671-DF99-4287-901D-38863FC76E14}" dt="2018-08-31T04:23:29.788" v="176" actId="571"/>
          <ac:spMkLst>
            <pc:docMk/>
            <pc:sldMk cId="3534620996" sldId="1504"/>
            <ac:spMk id="20" creationId="{F132BB4B-0272-4372-A78A-D7646E233CC0}"/>
          </ac:spMkLst>
        </pc:spChg>
        <pc:grpChg chg="add">
          <ac:chgData name="Vishal Khatal" userId="bab0fa6e-5dcd-45b8-9ebb-6a8f8382e55d" providerId="ADAL" clId="{311DB671-DF99-4287-901D-38863FC76E14}" dt="2018-08-31T04:18:47.809" v="117"/>
          <ac:grpSpMkLst>
            <pc:docMk/>
            <pc:sldMk cId="3534620996" sldId="1504"/>
            <ac:grpSpMk id="9" creationId="{CE20201E-281D-403B-8457-06FE675F4F9D}"/>
          </ac:grpSpMkLst>
        </pc:grpChg>
        <pc:picChg chg="del">
          <ac:chgData name="Vishal Khatal" userId="bab0fa6e-5dcd-45b8-9ebb-6a8f8382e55d" providerId="ADAL" clId="{311DB671-DF99-4287-901D-38863FC76E14}" dt="2018-08-31T04:18:46.983" v="116" actId="478"/>
          <ac:picMkLst>
            <pc:docMk/>
            <pc:sldMk cId="3534620996" sldId="1504"/>
            <ac:picMk id="5" creationId="{F3E91BB6-3B8B-4234-B7AE-A224DE25D73B}"/>
          </ac:picMkLst>
        </pc:picChg>
        <pc:picChg chg="add mod">
          <ac:chgData name="Vishal Khatal" userId="bab0fa6e-5dcd-45b8-9ebb-6a8f8382e55d" providerId="ADAL" clId="{311DB671-DF99-4287-901D-38863FC76E14}" dt="2018-08-31T04:23:41.658" v="178" actId="1076"/>
          <ac:picMkLst>
            <pc:docMk/>
            <pc:sldMk cId="3534620996" sldId="1504"/>
            <ac:picMk id="16" creationId="{64AF9FD9-CA79-4515-AB66-8C487CAE2E0F}"/>
          </ac:picMkLst>
        </pc:picChg>
        <pc:picChg chg="add">
          <ac:chgData name="Vishal Khatal" userId="bab0fa6e-5dcd-45b8-9ebb-6a8f8382e55d" providerId="ADAL" clId="{311DB671-DF99-4287-901D-38863FC76E14}" dt="2018-08-31T04:18:47.809" v="117"/>
          <ac:picMkLst>
            <pc:docMk/>
            <pc:sldMk cId="3534620996" sldId="1504"/>
            <ac:picMk id="17" creationId="{E867F210-DC1C-47CA-8D5D-2B189C16B12E}"/>
          </ac:picMkLst>
        </pc:picChg>
        <pc:picChg chg="add mod">
          <ac:chgData name="Vishal Khatal" userId="bab0fa6e-5dcd-45b8-9ebb-6a8f8382e55d" providerId="ADAL" clId="{311DB671-DF99-4287-901D-38863FC76E14}" dt="2018-08-31T04:23:53.446" v="183" actId="1076"/>
          <ac:picMkLst>
            <pc:docMk/>
            <pc:sldMk cId="3534620996" sldId="1504"/>
            <ac:picMk id="18" creationId="{CAF064D8-2D0C-422E-BAC8-DC4658973240}"/>
          </ac:picMkLst>
        </pc:picChg>
        <pc:picChg chg="add mod">
          <ac:chgData name="Vishal Khatal" userId="bab0fa6e-5dcd-45b8-9ebb-6a8f8382e55d" providerId="ADAL" clId="{311DB671-DF99-4287-901D-38863FC76E14}" dt="2018-08-31T04:23:29.788" v="176" actId="571"/>
          <ac:picMkLst>
            <pc:docMk/>
            <pc:sldMk cId="3534620996" sldId="1504"/>
            <ac:picMk id="21" creationId="{53322055-3D83-468D-8304-9DBCCE27220F}"/>
          </ac:picMkLst>
        </pc:picChg>
        <pc:cxnChg chg="add">
          <ac:chgData name="Vishal Khatal" userId="bab0fa6e-5dcd-45b8-9ebb-6a8f8382e55d" providerId="ADAL" clId="{311DB671-DF99-4287-901D-38863FC76E14}" dt="2018-08-31T04:18:47.809" v="117"/>
          <ac:cxnSpMkLst>
            <pc:docMk/>
            <pc:sldMk cId="3534620996" sldId="1504"/>
            <ac:cxnSpMk id="14" creationId="{EB05334D-4A4F-4B07-9EA2-2D8A5C52DDC1}"/>
          </ac:cxnSpMkLst>
        </pc:cxnChg>
        <pc:cxnChg chg="add mod">
          <ac:chgData name="Vishal Khatal" userId="bab0fa6e-5dcd-45b8-9ebb-6a8f8382e55d" providerId="ADAL" clId="{311DB671-DF99-4287-901D-38863FC76E14}" dt="2018-08-31T04:26:04.164" v="187" actId="14100"/>
          <ac:cxnSpMkLst>
            <pc:docMk/>
            <pc:sldMk cId="3534620996" sldId="1504"/>
            <ac:cxnSpMk id="15" creationId="{7DE8F5F2-B646-45A3-89F0-A8B80FDAFE48}"/>
          </ac:cxnSpMkLst>
        </pc:cxnChg>
        <pc:cxnChg chg="add mod">
          <ac:chgData name="Vishal Khatal" userId="bab0fa6e-5dcd-45b8-9ebb-6a8f8382e55d" providerId="ADAL" clId="{311DB671-DF99-4287-901D-38863FC76E14}" dt="2018-08-31T04:23:44.206" v="179" actId="1076"/>
          <ac:cxnSpMkLst>
            <pc:docMk/>
            <pc:sldMk cId="3534620996" sldId="1504"/>
            <ac:cxnSpMk id="19" creationId="{245629D9-9F6E-4AA5-B5EE-3E9E6FE1EA80}"/>
          </ac:cxnSpMkLst>
        </pc:cxnChg>
      </pc:sldChg>
      <pc:sldChg chg="delSp add del setBg delDesignElem">
        <pc:chgData name="Vishal Khatal" userId="bab0fa6e-5dcd-45b8-9ebb-6a8f8382e55d" providerId="ADAL" clId="{311DB671-DF99-4287-901D-38863FC76E14}" dt="2018-08-31T04:21:49.538" v="149" actId="2696"/>
        <pc:sldMkLst>
          <pc:docMk/>
          <pc:sldMk cId="1435137665" sldId="1505"/>
        </pc:sldMkLst>
        <pc:spChg chg="del">
          <ac:chgData name="Vishal Khatal" userId="bab0fa6e-5dcd-45b8-9ebb-6a8f8382e55d" providerId="ADAL" clId="{311DB671-DF99-4287-901D-38863FC76E14}" dt="2018-08-31T04:21:46.056" v="148"/>
          <ac:spMkLst>
            <pc:docMk/>
            <pc:sldMk cId="1435137665" sldId="1505"/>
            <ac:spMk id="104" creationId="{1C2A4B30-77D7-4FFB-8B53-A88BD68CABD2}"/>
          </ac:spMkLst>
        </pc:spChg>
        <pc:spChg chg="del">
          <ac:chgData name="Vishal Khatal" userId="bab0fa6e-5dcd-45b8-9ebb-6a8f8382e55d" providerId="ADAL" clId="{311DB671-DF99-4287-901D-38863FC76E14}" dt="2018-08-31T04:21:46.056" v="148"/>
          <ac:spMkLst>
            <pc:docMk/>
            <pc:sldMk cId="1435137665" sldId="1505"/>
            <ac:spMk id="105" creationId="{0CABCAE3-64FC-4149-819F-2C1812824154}"/>
          </ac:spMkLst>
        </pc:spChg>
        <pc:spChg chg="del">
          <ac:chgData name="Vishal Khatal" userId="bab0fa6e-5dcd-45b8-9ebb-6a8f8382e55d" providerId="ADAL" clId="{311DB671-DF99-4287-901D-38863FC76E14}" dt="2018-08-31T04:21:46.056" v="148"/>
          <ac:spMkLst>
            <pc:docMk/>
            <pc:sldMk cId="1435137665" sldId="1505"/>
            <ac:spMk id="108" creationId="{01E4D783-AD45-49E7-B6C7-BBACB8290688}"/>
          </ac:spMkLst>
        </pc:spChg>
        <pc:picChg chg="del">
          <ac:chgData name="Vishal Khatal" userId="bab0fa6e-5dcd-45b8-9ebb-6a8f8382e55d" providerId="ADAL" clId="{311DB671-DF99-4287-901D-38863FC76E14}" dt="2018-08-31T04:21:46.056" v="148"/>
          <ac:picMkLst>
            <pc:docMk/>
            <pc:sldMk cId="1435137665" sldId="1505"/>
            <ac:picMk id="107" creationId="{012FDCFE-9AD2-4D8A-8CBF-B3AA37EBF6DD}"/>
          </ac:picMkLst>
        </pc:picChg>
        <pc:cxnChg chg="del">
          <ac:chgData name="Vishal Khatal" userId="bab0fa6e-5dcd-45b8-9ebb-6a8f8382e55d" providerId="ADAL" clId="{311DB671-DF99-4287-901D-38863FC76E14}" dt="2018-08-31T04:21:46.056" v="148"/>
          <ac:cxnSpMkLst>
            <pc:docMk/>
            <pc:sldMk cId="1435137665" sldId="1505"/>
            <ac:cxnSpMk id="106" creationId="{373AAE2E-5D6B-4952-A4BB-546C49F8DE4B}"/>
          </ac:cxnSpMkLst>
        </pc:cxnChg>
        <pc:cxnChg chg="del">
          <ac:chgData name="Vishal Khatal" userId="bab0fa6e-5dcd-45b8-9ebb-6a8f8382e55d" providerId="ADAL" clId="{311DB671-DF99-4287-901D-38863FC76E14}" dt="2018-08-31T04:21:46.056" v="148"/>
          <ac:cxnSpMkLst>
            <pc:docMk/>
            <pc:sldMk cId="1435137665" sldId="1505"/>
            <ac:cxnSpMk id="109" creationId="{FBD463FC-4CA8-4FF4-85A3-AF9F4B98D210}"/>
          </ac:cxnSpMkLst>
        </pc:cxnChg>
        <pc:cxnChg chg="del">
          <ac:chgData name="Vishal Khatal" userId="bab0fa6e-5dcd-45b8-9ebb-6a8f8382e55d" providerId="ADAL" clId="{311DB671-DF99-4287-901D-38863FC76E14}" dt="2018-08-31T04:21:46.056" v="148"/>
          <ac:cxnSpMkLst>
            <pc:docMk/>
            <pc:sldMk cId="1435137665" sldId="1505"/>
            <ac:cxnSpMk id="110" creationId="{A56012FD-74A8-4C91-B318-435CF2B71927}"/>
          </ac:cxnSpMkLst>
        </pc:cxnChg>
      </pc:sldChg>
      <pc:sldChg chg="delSp add del setBg delDesignElem">
        <pc:chgData name="Vishal Khatal" userId="bab0fa6e-5dcd-45b8-9ebb-6a8f8382e55d" providerId="ADAL" clId="{311DB671-DF99-4287-901D-38863FC76E14}" dt="2018-08-31T04:23:03.238" v="167" actId="2696"/>
        <pc:sldMkLst>
          <pc:docMk/>
          <pc:sldMk cId="2989198459" sldId="1505"/>
        </pc:sldMkLst>
        <pc:spChg chg="del">
          <ac:chgData name="Vishal Khatal" userId="bab0fa6e-5dcd-45b8-9ebb-6a8f8382e55d" providerId="ADAL" clId="{311DB671-DF99-4287-901D-38863FC76E14}" dt="2018-08-31T04:22:59.268" v="166"/>
          <ac:spMkLst>
            <pc:docMk/>
            <pc:sldMk cId="2989198459" sldId="1505"/>
            <ac:spMk id="139" creationId="{0CABCAE3-64FC-4149-819F-2C1812824154}"/>
          </ac:spMkLst>
        </pc:spChg>
        <pc:spChg chg="del">
          <ac:chgData name="Vishal Khatal" userId="bab0fa6e-5dcd-45b8-9ebb-6a8f8382e55d" providerId="ADAL" clId="{311DB671-DF99-4287-901D-38863FC76E14}" dt="2018-08-31T04:22:59.268" v="166"/>
          <ac:spMkLst>
            <pc:docMk/>
            <pc:sldMk cId="2989198459" sldId="1505"/>
            <ac:spMk id="143" creationId="{1C2A4B30-77D7-4FFB-8B53-A88BD68CABD2}"/>
          </ac:spMkLst>
        </pc:spChg>
        <pc:spChg chg="del">
          <ac:chgData name="Vishal Khatal" userId="bab0fa6e-5dcd-45b8-9ebb-6a8f8382e55d" providerId="ADAL" clId="{311DB671-DF99-4287-901D-38863FC76E14}" dt="2018-08-31T04:22:59.268" v="166"/>
          <ac:spMkLst>
            <pc:docMk/>
            <pc:sldMk cId="2989198459" sldId="1505"/>
            <ac:spMk id="145" creationId="{01E4D783-AD45-49E7-B6C7-BBACB8290688}"/>
          </ac:spMkLst>
        </pc:spChg>
        <pc:picChg chg="del">
          <ac:chgData name="Vishal Khatal" userId="bab0fa6e-5dcd-45b8-9ebb-6a8f8382e55d" providerId="ADAL" clId="{311DB671-DF99-4287-901D-38863FC76E14}" dt="2018-08-31T04:22:59.268" v="166"/>
          <ac:picMkLst>
            <pc:docMk/>
            <pc:sldMk cId="2989198459" sldId="1505"/>
            <ac:picMk id="140" creationId="{012FDCFE-9AD2-4D8A-8CBF-B3AA37EBF6DD}"/>
          </ac:picMkLst>
        </pc:picChg>
        <pc:cxnChg chg="del">
          <ac:chgData name="Vishal Khatal" userId="bab0fa6e-5dcd-45b8-9ebb-6a8f8382e55d" providerId="ADAL" clId="{311DB671-DF99-4287-901D-38863FC76E14}" dt="2018-08-31T04:22:59.268" v="166"/>
          <ac:cxnSpMkLst>
            <pc:docMk/>
            <pc:sldMk cId="2989198459" sldId="1505"/>
            <ac:cxnSpMk id="141" creationId="{FBD463FC-4CA8-4FF4-85A3-AF9F4B98D210}"/>
          </ac:cxnSpMkLst>
        </pc:cxnChg>
        <pc:cxnChg chg="del">
          <ac:chgData name="Vishal Khatal" userId="bab0fa6e-5dcd-45b8-9ebb-6a8f8382e55d" providerId="ADAL" clId="{311DB671-DF99-4287-901D-38863FC76E14}" dt="2018-08-31T04:22:59.268" v="166"/>
          <ac:cxnSpMkLst>
            <pc:docMk/>
            <pc:sldMk cId="2989198459" sldId="1505"/>
            <ac:cxnSpMk id="142" creationId="{A56012FD-74A8-4C91-B318-435CF2B71927}"/>
          </ac:cxnSpMkLst>
        </pc:cxnChg>
        <pc:cxnChg chg="del">
          <ac:chgData name="Vishal Khatal" userId="bab0fa6e-5dcd-45b8-9ebb-6a8f8382e55d" providerId="ADAL" clId="{311DB671-DF99-4287-901D-38863FC76E14}" dt="2018-08-31T04:22:59.268" v="166"/>
          <ac:cxnSpMkLst>
            <pc:docMk/>
            <pc:sldMk cId="2989198459" sldId="1505"/>
            <ac:cxnSpMk id="144" creationId="{373AAE2E-5D6B-4952-A4BB-546C49F8DE4B}"/>
          </ac:cxnSpMkLst>
        </pc:cxnChg>
      </pc:sldChg>
      <pc:sldMasterChg chg="addSp modTransition modSldLayout">
        <pc:chgData name="Vishal Khatal" userId="bab0fa6e-5dcd-45b8-9ebb-6a8f8382e55d" providerId="ADAL" clId="{311DB671-DF99-4287-901D-38863FC76E14}" dt="2018-08-31T04:10:33.069" v="0"/>
        <pc:sldMasterMkLst>
          <pc:docMk/>
          <pc:sldMasterMk cId="3236224073" sldId="2147484420"/>
        </pc:sldMasterMkLst>
        <pc:picChg chg="add">
          <ac:chgData name="Vishal Khatal" userId="bab0fa6e-5dcd-45b8-9ebb-6a8f8382e55d" providerId="ADAL" clId="{311DB671-DF99-4287-901D-38863FC76E14}" dt="2018-08-31T04:10:33.069" v="0"/>
          <ac:picMkLst>
            <pc:docMk/>
            <pc:sldMasterMk cId="3236224073" sldId="2147484420"/>
            <ac:picMk id="7" creationId="{42868990-12F1-4FB3-976E-788321D4131E}"/>
          </ac:picMkLst>
        </pc:picChg>
        <pc:sldLayoutChg chg="modTransition">
          <pc:chgData name="Vishal Khatal" userId="bab0fa6e-5dcd-45b8-9ebb-6a8f8382e55d" providerId="ADAL" clId="{311DB671-DF99-4287-901D-38863FC76E14}" dt="2018-08-31T04:10:33.069" v="0"/>
          <pc:sldLayoutMkLst>
            <pc:docMk/>
            <pc:sldMasterMk cId="3236224073" sldId="2147484420"/>
            <pc:sldLayoutMk cId="3351716689" sldId="2147484427"/>
          </pc:sldLayoutMkLst>
        </pc:sldLayoutChg>
      </pc:sldMasterChg>
      <pc:sldMasterChg chg="addSp modTransition modSldLayout">
        <pc:chgData name="Vishal Khatal" userId="bab0fa6e-5dcd-45b8-9ebb-6a8f8382e55d" providerId="ADAL" clId="{311DB671-DF99-4287-901D-38863FC76E14}" dt="2018-08-31T04:11:26.349" v="16"/>
        <pc:sldMasterMkLst>
          <pc:docMk/>
          <pc:sldMasterMk cId="2631762252" sldId="2147484437"/>
        </pc:sldMasterMkLst>
        <pc:picChg chg="add">
          <ac:chgData name="Vishal Khatal" userId="bab0fa6e-5dcd-45b8-9ebb-6a8f8382e55d" providerId="ADAL" clId="{311DB671-DF99-4287-901D-38863FC76E14}" dt="2018-08-31T04:11:26.349" v="16"/>
          <ac:picMkLst>
            <pc:docMk/>
            <pc:sldMasterMk cId="2631762252" sldId="2147484437"/>
            <ac:picMk id="11" creationId="{04FF8C20-C42E-4ECA-BDE2-5CC0DDB531A4}"/>
          </ac:picMkLst>
        </pc:picChg>
        <pc:sldLayoutChg chg="modTransition">
          <pc:chgData name="Vishal Khatal" userId="bab0fa6e-5dcd-45b8-9ebb-6a8f8382e55d" providerId="ADAL" clId="{311DB671-DF99-4287-901D-38863FC76E14}" dt="2018-08-31T04:11:26.349" v="16"/>
          <pc:sldLayoutMkLst>
            <pc:docMk/>
            <pc:sldMasterMk cId="2631762252" sldId="2147484437"/>
            <pc:sldLayoutMk cId="311774487" sldId="2147484444"/>
          </pc:sldLayoutMkLst>
        </pc:sldLayoutChg>
      </pc:sldMasterChg>
      <pc:sldMasterChg chg="addSp modTransition modSldLayout">
        <pc:chgData name="Vishal Khatal" userId="bab0fa6e-5dcd-45b8-9ebb-6a8f8382e55d" providerId="ADAL" clId="{311DB671-DF99-4287-901D-38863FC76E14}" dt="2018-08-31T04:11:27.198" v="19"/>
        <pc:sldMasterMkLst>
          <pc:docMk/>
          <pc:sldMasterMk cId="2291225022" sldId="2147484453"/>
        </pc:sldMasterMkLst>
        <pc:picChg chg="add">
          <ac:chgData name="Vishal Khatal" userId="bab0fa6e-5dcd-45b8-9ebb-6a8f8382e55d" providerId="ADAL" clId="{311DB671-DF99-4287-901D-38863FC76E14}" dt="2018-08-31T04:11:27.198" v="19"/>
          <ac:picMkLst>
            <pc:docMk/>
            <pc:sldMasterMk cId="2291225022" sldId="2147484453"/>
            <ac:picMk id="11" creationId="{CAF30BBF-DF43-4D2F-A2BF-A091EE18385B}"/>
          </ac:picMkLst>
        </pc:picChg>
        <pc:sldLayoutChg chg="modTransition">
          <pc:chgData name="Vishal Khatal" userId="bab0fa6e-5dcd-45b8-9ebb-6a8f8382e55d" providerId="ADAL" clId="{311DB671-DF99-4287-901D-38863FC76E14}" dt="2018-08-31T04:11:27.198" v="19"/>
          <pc:sldLayoutMkLst>
            <pc:docMk/>
            <pc:sldMasterMk cId="2291225022" sldId="2147484453"/>
            <pc:sldLayoutMk cId="4005816057" sldId="2147484460"/>
          </pc:sldLayoutMkLst>
        </pc:sldLayoutChg>
      </pc:sldMasterChg>
      <pc:sldMasterChg chg="addSp modTransition modSldLayout">
        <pc:chgData name="Vishal Khatal" userId="bab0fa6e-5dcd-45b8-9ebb-6a8f8382e55d" providerId="ADAL" clId="{311DB671-DF99-4287-901D-38863FC76E14}" dt="2018-08-31T04:11:29.242" v="20"/>
        <pc:sldMasterMkLst>
          <pc:docMk/>
          <pc:sldMasterMk cId="3896247683" sldId="2147484469"/>
        </pc:sldMasterMkLst>
        <pc:picChg chg="add">
          <ac:chgData name="Vishal Khatal" userId="bab0fa6e-5dcd-45b8-9ebb-6a8f8382e55d" providerId="ADAL" clId="{311DB671-DF99-4287-901D-38863FC76E14}" dt="2018-08-31T04:11:29.242" v="20"/>
          <ac:picMkLst>
            <pc:docMk/>
            <pc:sldMasterMk cId="3896247683" sldId="2147484469"/>
            <ac:picMk id="12" creationId="{9DAE0D8E-7480-419A-B65E-FCD54B95BE21}"/>
          </ac:picMkLst>
        </pc:picChg>
        <pc:sldLayoutChg chg="modTransition">
          <pc:chgData name="Vishal Khatal" userId="bab0fa6e-5dcd-45b8-9ebb-6a8f8382e55d" providerId="ADAL" clId="{311DB671-DF99-4287-901D-38863FC76E14}" dt="2018-08-31T04:11:29.242" v="20"/>
          <pc:sldLayoutMkLst>
            <pc:docMk/>
            <pc:sldMasterMk cId="3896247683" sldId="2147484469"/>
            <pc:sldLayoutMk cId="21394773" sldId="2147484476"/>
          </pc:sldLayoutMkLst>
        </pc:sldLayoutChg>
      </pc:sldMasterChg>
      <pc:sldMasterChg chg="addSp modTransition modSldLayout">
        <pc:chgData name="Vishal Khatal" userId="bab0fa6e-5dcd-45b8-9ebb-6a8f8382e55d" providerId="ADAL" clId="{311DB671-DF99-4287-901D-38863FC76E14}" dt="2018-08-31T04:11:31.377" v="22"/>
        <pc:sldMasterMkLst>
          <pc:docMk/>
          <pc:sldMasterMk cId="4102896472" sldId="2147484491"/>
        </pc:sldMasterMkLst>
        <pc:picChg chg="add">
          <ac:chgData name="Vishal Khatal" userId="bab0fa6e-5dcd-45b8-9ebb-6a8f8382e55d" providerId="ADAL" clId="{311DB671-DF99-4287-901D-38863FC76E14}" dt="2018-08-31T04:11:31.377" v="22"/>
          <ac:picMkLst>
            <pc:docMk/>
            <pc:sldMasterMk cId="4102896472" sldId="2147484491"/>
            <ac:picMk id="13" creationId="{5A001144-8A37-48D9-92B2-5364DF888C4B}"/>
          </ac:picMkLst>
        </pc:picChg>
        <pc:sldLayoutChg chg="modTransition">
          <pc:chgData name="Vishal Khatal" userId="bab0fa6e-5dcd-45b8-9ebb-6a8f8382e55d" providerId="ADAL" clId="{311DB671-DF99-4287-901D-38863FC76E14}" dt="2018-08-31T04:11:31.377" v="22"/>
          <pc:sldLayoutMkLst>
            <pc:docMk/>
            <pc:sldMasterMk cId="4102896472" sldId="2147484491"/>
            <pc:sldLayoutMk cId="3010825488" sldId="2147484498"/>
          </pc:sldLayoutMkLst>
        </pc:sldLayoutChg>
      </pc:sldMasterChg>
      <pc:sldMasterChg chg="addSp modTransition modSldLayout">
        <pc:chgData name="Vishal Khatal" userId="bab0fa6e-5dcd-45b8-9ebb-6a8f8382e55d" providerId="ADAL" clId="{311DB671-DF99-4287-901D-38863FC76E14}" dt="2018-08-31T04:11:32.572" v="24"/>
        <pc:sldMasterMkLst>
          <pc:docMk/>
          <pc:sldMasterMk cId="3095080027" sldId="2147484513"/>
        </pc:sldMasterMkLst>
        <pc:picChg chg="add">
          <ac:chgData name="Vishal Khatal" userId="bab0fa6e-5dcd-45b8-9ebb-6a8f8382e55d" providerId="ADAL" clId="{311DB671-DF99-4287-901D-38863FC76E14}" dt="2018-08-31T04:11:32.572" v="24"/>
          <ac:picMkLst>
            <pc:docMk/>
            <pc:sldMasterMk cId="3095080027" sldId="2147484513"/>
            <ac:picMk id="13" creationId="{BCC21965-2ABF-4C8F-A47C-084DE8818F41}"/>
          </ac:picMkLst>
        </pc:picChg>
        <pc:sldLayoutChg chg="modTransition">
          <pc:chgData name="Vishal Khatal" userId="bab0fa6e-5dcd-45b8-9ebb-6a8f8382e55d" providerId="ADAL" clId="{311DB671-DF99-4287-901D-38863FC76E14}" dt="2018-08-31T04:11:32.572" v="24"/>
          <pc:sldLayoutMkLst>
            <pc:docMk/>
            <pc:sldMasterMk cId="3095080027" sldId="2147484513"/>
            <pc:sldLayoutMk cId="742548568" sldId="2147484520"/>
          </pc:sldLayoutMkLst>
        </pc:sldLayoutChg>
      </pc:sldMasterChg>
      <pc:sldMasterChg chg="addSp modTransition modSldLayout">
        <pc:chgData name="Vishal Khatal" userId="bab0fa6e-5dcd-45b8-9ebb-6a8f8382e55d" providerId="ADAL" clId="{311DB671-DF99-4287-901D-38863FC76E14}" dt="2018-08-31T04:11:40.710" v="25"/>
        <pc:sldMasterMkLst>
          <pc:docMk/>
          <pc:sldMasterMk cId="3752370026" sldId="2147484535"/>
        </pc:sldMasterMkLst>
        <pc:picChg chg="add">
          <ac:chgData name="Vishal Khatal" userId="bab0fa6e-5dcd-45b8-9ebb-6a8f8382e55d" providerId="ADAL" clId="{311DB671-DF99-4287-901D-38863FC76E14}" dt="2018-08-31T04:11:40.710" v="25"/>
          <ac:picMkLst>
            <pc:docMk/>
            <pc:sldMasterMk cId="3752370026" sldId="2147484535"/>
            <ac:picMk id="13" creationId="{A9BCE23C-8277-47F7-870C-23F54C2F0B42}"/>
          </ac:picMkLst>
        </pc:picChg>
        <pc:sldLayoutChg chg="modTransition">
          <pc:chgData name="Vishal Khatal" userId="bab0fa6e-5dcd-45b8-9ebb-6a8f8382e55d" providerId="ADAL" clId="{311DB671-DF99-4287-901D-38863FC76E14}" dt="2018-08-31T04:11:40.710" v="25"/>
          <pc:sldLayoutMkLst>
            <pc:docMk/>
            <pc:sldMasterMk cId="3752370026" sldId="2147484535"/>
            <pc:sldLayoutMk cId="597890208" sldId="2147484542"/>
          </pc:sldLayoutMkLst>
        </pc:sldLayoutChg>
      </pc:sldMasterChg>
      <pc:sldMasterChg chg="addSp modTransition modSldLayout">
        <pc:chgData name="Vishal Khatal" userId="bab0fa6e-5dcd-45b8-9ebb-6a8f8382e55d" providerId="ADAL" clId="{311DB671-DF99-4287-901D-38863FC76E14}" dt="2018-08-31T04:11:46.630" v="26"/>
        <pc:sldMasterMkLst>
          <pc:docMk/>
          <pc:sldMasterMk cId="2709655582" sldId="2147484557"/>
        </pc:sldMasterMkLst>
        <pc:picChg chg="add">
          <ac:chgData name="Vishal Khatal" userId="bab0fa6e-5dcd-45b8-9ebb-6a8f8382e55d" providerId="ADAL" clId="{311DB671-DF99-4287-901D-38863FC76E14}" dt="2018-08-31T04:11:46.630" v="26"/>
          <ac:picMkLst>
            <pc:docMk/>
            <pc:sldMasterMk cId="2709655582" sldId="2147484557"/>
            <ac:picMk id="7" creationId="{B4072FD5-21EB-411B-B47F-136407D79B1D}"/>
          </ac:picMkLst>
        </pc:picChg>
        <pc:sldLayoutChg chg="modTransition">
          <pc:chgData name="Vishal Khatal" userId="bab0fa6e-5dcd-45b8-9ebb-6a8f8382e55d" providerId="ADAL" clId="{311DB671-DF99-4287-901D-38863FC76E14}" dt="2018-08-31T04:11:46.630" v="26"/>
          <pc:sldLayoutMkLst>
            <pc:docMk/>
            <pc:sldMasterMk cId="2709655582" sldId="2147484557"/>
            <pc:sldLayoutMk cId="3112495920" sldId="2147484564"/>
          </pc:sldLayoutMkLst>
        </pc:sldLayoutChg>
      </pc:sldMasterChg>
      <pc:sldMasterChg chg="addSp modTransition modSldLayout">
        <pc:chgData name="Vishal Khatal" userId="bab0fa6e-5dcd-45b8-9ebb-6a8f8382e55d" providerId="ADAL" clId="{311DB671-DF99-4287-901D-38863FC76E14}" dt="2018-08-31T04:11:53.175" v="28"/>
        <pc:sldMasterMkLst>
          <pc:docMk/>
          <pc:sldMasterMk cId="678234682" sldId="2147484573"/>
        </pc:sldMasterMkLst>
        <pc:picChg chg="add">
          <ac:chgData name="Vishal Khatal" userId="bab0fa6e-5dcd-45b8-9ebb-6a8f8382e55d" providerId="ADAL" clId="{311DB671-DF99-4287-901D-38863FC76E14}" dt="2018-08-31T04:11:53.175" v="28"/>
          <ac:picMkLst>
            <pc:docMk/>
            <pc:sldMasterMk cId="678234682" sldId="2147484573"/>
            <ac:picMk id="8" creationId="{ACC41A20-3CD4-4A33-9C46-CFD09D75F10F}"/>
          </ac:picMkLst>
        </pc:picChg>
        <pc:sldLayoutChg chg="modTransition">
          <pc:chgData name="Vishal Khatal" userId="bab0fa6e-5dcd-45b8-9ebb-6a8f8382e55d" providerId="ADAL" clId="{311DB671-DF99-4287-901D-38863FC76E14}" dt="2018-08-31T04:11:53.175" v="28"/>
          <pc:sldLayoutMkLst>
            <pc:docMk/>
            <pc:sldMasterMk cId="678234682" sldId="2147484573"/>
            <pc:sldLayoutMk cId="3110199957" sldId="2147484580"/>
          </pc:sldLayoutMkLst>
        </pc:sldLayoutChg>
      </pc:sldMasterChg>
      <pc:sldMasterChg chg="addSp modTransition modSldLayout">
        <pc:chgData name="Vishal Khatal" userId="bab0fa6e-5dcd-45b8-9ebb-6a8f8382e55d" providerId="ADAL" clId="{311DB671-DF99-4287-901D-38863FC76E14}" dt="2018-08-31T04:11:55.969" v="30"/>
        <pc:sldMasterMkLst>
          <pc:docMk/>
          <pc:sldMasterMk cId="3097049296" sldId="2147484589"/>
        </pc:sldMasterMkLst>
        <pc:picChg chg="add">
          <ac:chgData name="Vishal Khatal" userId="bab0fa6e-5dcd-45b8-9ebb-6a8f8382e55d" providerId="ADAL" clId="{311DB671-DF99-4287-901D-38863FC76E14}" dt="2018-08-31T04:11:55.969" v="30"/>
          <ac:picMkLst>
            <pc:docMk/>
            <pc:sldMasterMk cId="3097049296" sldId="2147484589"/>
            <ac:picMk id="11" creationId="{96499CB2-1BA7-456D-92C7-6572BDD34245}"/>
          </ac:picMkLst>
        </pc:picChg>
        <pc:sldLayoutChg chg="modTransition">
          <pc:chgData name="Vishal Khatal" userId="bab0fa6e-5dcd-45b8-9ebb-6a8f8382e55d" providerId="ADAL" clId="{311DB671-DF99-4287-901D-38863FC76E14}" dt="2018-08-31T04:11:55.969" v="30"/>
          <pc:sldLayoutMkLst>
            <pc:docMk/>
            <pc:sldMasterMk cId="3097049296" sldId="2147484589"/>
            <pc:sldLayoutMk cId="3425101966" sldId="2147484596"/>
          </pc:sldLayoutMkLst>
        </pc:sldLayoutChg>
      </pc:sldMasterChg>
      <pc:sldMasterChg chg="addSp modTransition modSldLayout">
        <pc:chgData name="Vishal Khatal" userId="bab0fa6e-5dcd-45b8-9ebb-6a8f8382e55d" providerId="ADAL" clId="{311DB671-DF99-4287-901D-38863FC76E14}" dt="2018-08-31T04:11:59.967" v="33"/>
        <pc:sldMasterMkLst>
          <pc:docMk/>
          <pc:sldMasterMk cId="420941121" sldId="2147484605"/>
        </pc:sldMasterMkLst>
        <pc:picChg chg="add">
          <ac:chgData name="Vishal Khatal" userId="bab0fa6e-5dcd-45b8-9ebb-6a8f8382e55d" providerId="ADAL" clId="{311DB671-DF99-4287-901D-38863FC76E14}" dt="2018-08-31T04:11:59.967" v="33"/>
          <ac:picMkLst>
            <pc:docMk/>
            <pc:sldMasterMk cId="420941121" sldId="2147484605"/>
            <ac:picMk id="11" creationId="{1882D94E-4BB4-4896-B794-904ECD5AD891}"/>
          </ac:picMkLst>
        </pc:picChg>
        <pc:sldLayoutChg chg="modTransition">
          <pc:chgData name="Vishal Khatal" userId="bab0fa6e-5dcd-45b8-9ebb-6a8f8382e55d" providerId="ADAL" clId="{311DB671-DF99-4287-901D-38863FC76E14}" dt="2018-08-31T04:11:59.967" v="33"/>
          <pc:sldLayoutMkLst>
            <pc:docMk/>
            <pc:sldMasterMk cId="420941121" sldId="2147484605"/>
            <pc:sldLayoutMk cId="4192048194" sldId="2147484612"/>
          </pc:sldLayoutMkLst>
        </pc:sldLayoutChg>
      </pc:sldMasterChg>
      <pc:sldMasterChg chg="addSp modTransition addSldLayout delSldLayout modSldLayout">
        <pc:chgData name="Vishal Khatal" userId="bab0fa6e-5dcd-45b8-9ebb-6a8f8382e55d" providerId="ADAL" clId="{311DB671-DF99-4287-901D-38863FC76E14}" dt="2018-08-31T04:23:08.813" v="170" actId="2696"/>
        <pc:sldMasterMkLst>
          <pc:docMk/>
          <pc:sldMasterMk cId="3858916465" sldId="2147484621"/>
        </pc:sldMasterMkLst>
        <pc:picChg chg="add">
          <ac:chgData name="Vishal Khatal" userId="bab0fa6e-5dcd-45b8-9ebb-6a8f8382e55d" providerId="ADAL" clId="{311DB671-DF99-4287-901D-38863FC76E14}" dt="2018-08-31T04:12:00.185" v="34"/>
          <ac:picMkLst>
            <pc:docMk/>
            <pc:sldMasterMk cId="3858916465" sldId="2147484621"/>
            <ac:picMk id="11" creationId="{B6A1E93D-9CC6-448C-A6F8-713A183D9529}"/>
          </ac:picMkLst>
        </pc:picChg>
        <pc:sldLayoutChg chg="modTransition">
          <pc:chgData name="Vishal Khatal" userId="bab0fa6e-5dcd-45b8-9ebb-6a8f8382e55d" providerId="ADAL" clId="{311DB671-DF99-4287-901D-38863FC76E14}" dt="2018-08-31T04:12:00.185" v="34"/>
          <pc:sldLayoutMkLst>
            <pc:docMk/>
            <pc:sldMasterMk cId="3858916465" sldId="2147484621"/>
            <pc:sldLayoutMk cId="3140771995" sldId="2147484628"/>
          </pc:sldLayoutMkLst>
        </pc:sldLayoutChg>
        <pc:sldLayoutChg chg="add del">
          <pc:chgData name="Vishal Khatal" userId="bab0fa6e-5dcd-45b8-9ebb-6a8f8382e55d" providerId="ADAL" clId="{311DB671-DF99-4287-901D-38863FC76E14}" dt="2018-08-31T04:23:08.813" v="170" actId="2696"/>
          <pc:sldLayoutMkLst>
            <pc:docMk/>
            <pc:sldMasterMk cId="3858916465" sldId="2147484621"/>
            <pc:sldLayoutMk cId="1382000048" sldId="2147484634"/>
          </pc:sldLayoutMkLst>
        </pc:sldLayoutChg>
        <pc:sldLayoutChg chg="del">
          <pc:chgData name="Vishal Khatal" userId="bab0fa6e-5dcd-45b8-9ebb-6a8f8382e55d" providerId="ADAL" clId="{311DB671-DF99-4287-901D-38863FC76E14}" dt="2018-08-31T04:17:28.311" v="105" actId="2696"/>
          <pc:sldLayoutMkLst>
            <pc:docMk/>
            <pc:sldMasterMk cId="3858916465" sldId="2147484621"/>
            <pc:sldLayoutMk cId="2067844861" sldId="2147484635"/>
          </pc:sldLayoutMkLst>
        </pc:sldLayoutChg>
        <pc:sldLayoutChg chg="del">
          <pc:chgData name="Vishal Khatal" userId="bab0fa6e-5dcd-45b8-9ebb-6a8f8382e55d" providerId="ADAL" clId="{311DB671-DF99-4287-901D-38863FC76E14}" dt="2018-08-31T04:19:03.947" v="124" actId="2696"/>
          <pc:sldLayoutMkLst>
            <pc:docMk/>
            <pc:sldMasterMk cId="3858916465" sldId="2147484621"/>
            <pc:sldLayoutMk cId="104770232" sldId="2147484636"/>
          </pc:sldLayoutMkLst>
        </pc:sldLayoutChg>
      </pc:sldMaster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r>
              <a:rPr lang="en-US" dirty="0">
                <a:latin typeface="Segoe UI" pitchFamily="34" charset="0"/>
              </a:rPr>
              <a:t>Microsoft Ignite 2015</a:t>
            </a: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8/31/2018 9:40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r>
              <a:rPr lang="en-US" dirty="0"/>
              <a:t>Microsoft Ignite 2015</a:t>
            </a:r>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EEC551-8CDA-4EB6-89BB-2A86C9F091C8}" type="datetime8">
              <a:rPr lang="en-US" smtClean="0"/>
              <a:t>8/31/2018 9:40 A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B079C3B8-7366-4A44-A34B-3977080C19E7}" type="datetime1">
              <a:rPr lang="en-US" smtClean="0">
                <a:solidFill>
                  <a:prstClr val="black"/>
                </a:solidFill>
              </a:rPr>
              <a:pPr/>
              <a:t>8/31/2018</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2</a:t>
            </a:fld>
            <a:endParaRPr lang="en-US" dirty="0">
              <a:solidFill>
                <a:prstClr val="black"/>
              </a:solidFill>
            </a:endParaRPr>
          </a:p>
        </p:txBody>
      </p:sp>
      <p:sp>
        <p:nvSpPr>
          <p:cNvPr id="7" name="Header Placeholder 6"/>
          <p:cNvSpPr>
            <a:spLocks noGrp="1"/>
          </p:cNvSpPr>
          <p:nvPr>
            <p:ph type="hdr" sz="quarter" idx="13"/>
          </p:nvPr>
        </p:nvSpPr>
        <p:spPr/>
        <p:txBody>
          <a:bodyPr/>
          <a:lstStyle/>
          <a:p>
            <a:r>
              <a:rPr lang="en-US">
                <a:solidFill>
                  <a:prstClr val="black"/>
                </a:solidFill>
              </a:rPr>
              <a:t>Build 2014</a:t>
            </a:r>
            <a:endParaRPr lang="en-US" dirty="0">
              <a:solidFill>
                <a:prstClr val="black"/>
              </a:solidFill>
            </a:endParaRPr>
          </a:p>
        </p:txBody>
      </p:sp>
    </p:spTree>
    <p:extLst>
      <p:ext uri="{BB962C8B-B14F-4D97-AF65-F5344CB8AC3E}">
        <p14:creationId xmlns:p14="http://schemas.microsoft.com/office/powerpoint/2010/main" val="34471687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iot-hub/iot-hub-create-through-portal</a:t>
            </a:r>
          </a:p>
        </p:txBody>
      </p:sp>
      <p:sp>
        <p:nvSpPr>
          <p:cNvPr id="4" name="Header Placeholder 3"/>
          <p:cNvSpPr>
            <a:spLocks noGrp="1"/>
          </p:cNvSpPr>
          <p:nvPr>
            <p:ph type="hdr" sz="quarter"/>
          </p:nvPr>
        </p:nvSpPr>
        <p:spPr/>
        <p:txBody>
          <a:bodyPr/>
          <a:lstStyle/>
          <a:p>
            <a:r>
              <a:rPr lang="en-US"/>
              <a:t>Microsoft Ignite 2015</a:t>
            </a:r>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fld id="{38EEC551-8CDA-4EB6-89BB-2A86C9F091C8}" type="datetime8">
              <a:rPr lang="en-US" smtClean="0"/>
              <a:t>8/31/2018 9:44 A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3</a:t>
            </a:fld>
            <a:endParaRPr lang="en-US" dirty="0"/>
          </a:p>
        </p:txBody>
      </p:sp>
    </p:spTree>
    <p:extLst>
      <p:ext uri="{BB962C8B-B14F-4D97-AF65-F5344CB8AC3E}">
        <p14:creationId xmlns:p14="http://schemas.microsoft.com/office/powerpoint/2010/main" val="7085772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iot-hub/iot-hub-create-through-portal</a:t>
            </a:r>
          </a:p>
        </p:txBody>
      </p:sp>
      <p:sp>
        <p:nvSpPr>
          <p:cNvPr id="4" name="Header Placeholder 3"/>
          <p:cNvSpPr>
            <a:spLocks noGrp="1"/>
          </p:cNvSpPr>
          <p:nvPr>
            <p:ph type="hdr" sz="quarter"/>
          </p:nvPr>
        </p:nvSpPr>
        <p:spPr/>
        <p:txBody>
          <a:bodyPr/>
          <a:lstStyle/>
          <a:p>
            <a:r>
              <a:rPr lang="en-US"/>
              <a:t>Microsoft Ignite 2015</a:t>
            </a:r>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fld id="{38EEC551-8CDA-4EB6-89BB-2A86C9F091C8}" type="datetime8">
              <a:rPr lang="en-US" smtClean="0"/>
              <a:t>8/31/2018 9:43 A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4</a:t>
            </a:fld>
            <a:endParaRPr lang="en-US" dirty="0"/>
          </a:p>
        </p:txBody>
      </p:sp>
    </p:spTree>
    <p:extLst>
      <p:ext uri="{BB962C8B-B14F-4D97-AF65-F5344CB8AC3E}">
        <p14:creationId xmlns:p14="http://schemas.microsoft.com/office/powerpoint/2010/main" val="39136561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iot-hub/iot-hub-create-through-portal</a:t>
            </a:r>
          </a:p>
        </p:txBody>
      </p:sp>
      <p:sp>
        <p:nvSpPr>
          <p:cNvPr id="4" name="Header Placeholder 3"/>
          <p:cNvSpPr>
            <a:spLocks noGrp="1"/>
          </p:cNvSpPr>
          <p:nvPr>
            <p:ph type="hdr" sz="quarter"/>
          </p:nvPr>
        </p:nvSpPr>
        <p:spPr/>
        <p:txBody>
          <a:bodyPr/>
          <a:lstStyle/>
          <a:p>
            <a:r>
              <a:rPr lang="en-US"/>
              <a:t>Microsoft Ignite 2015</a:t>
            </a:r>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fld id="{38EEC551-8CDA-4EB6-89BB-2A86C9F091C8}" type="datetime8">
              <a:rPr lang="en-US" smtClean="0"/>
              <a:t>8/31/2018 9:46 A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5</a:t>
            </a:fld>
            <a:endParaRPr lang="en-US" dirty="0"/>
          </a:p>
        </p:txBody>
      </p:sp>
    </p:spTree>
    <p:extLst>
      <p:ext uri="{BB962C8B-B14F-4D97-AF65-F5344CB8AC3E}">
        <p14:creationId xmlns:p14="http://schemas.microsoft.com/office/powerpoint/2010/main" val="27362882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www.azureiotsolutions.com/Accelerators</a:t>
            </a:r>
          </a:p>
          <a:p>
            <a:endParaRPr lang="en-US" dirty="0"/>
          </a:p>
        </p:txBody>
      </p:sp>
      <p:sp>
        <p:nvSpPr>
          <p:cNvPr id="4" name="Header Placeholder 3"/>
          <p:cNvSpPr>
            <a:spLocks noGrp="1"/>
          </p:cNvSpPr>
          <p:nvPr>
            <p:ph type="hdr" sz="quarter"/>
          </p:nvPr>
        </p:nvSpPr>
        <p:spPr/>
        <p:txBody>
          <a:bodyPr/>
          <a:lstStyle/>
          <a:p>
            <a:r>
              <a:rPr lang="en-US"/>
              <a:t>Microsoft Ignite 2015</a:t>
            </a:r>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fld id="{38EEC551-8CDA-4EB6-89BB-2A86C9F091C8}" type="datetime8">
              <a:rPr lang="en-US" smtClean="0"/>
              <a:t>8/31/2018 9:40 A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6</a:t>
            </a:fld>
            <a:endParaRPr lang="en-US" dirty="0"/>
          </a:p>
        </p:txBody>
      </p:sp>
    </p:spTree>
    <p:extLst>
      <p:ext uri="{BB962C8B-B14F-4D97-AF65-F5344CB8AC3E}">
        <p14:creationId xmlns:p14="http://schemas.microsoft.com/office/powerpoint/2010/main" val="285640012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www.azureiotsolutions.com/Accelerators</a:t>
            </a:r>
          </a:p>
          <a:p>
            <a:endParaRPr lang="en-US" dirty="0"/>
          </a:p>
        </p:txBody>
      </p:sp>
      <p:sp>
        <p:nvSpPr>
          <p:cNvPr id="4" name="Header Placeholder 3"/>
          <p:cNvSpPr>
            <a:spLocks noGrp="1"/>
          </p:cNvSpPr>
          <p:nvPr>
            <p:ph type="hdr" sz="quarter"/>
          </p:nvPr>
        </p:nvSpPr>
        <p:spPr/>
        <p:txBody>
          <a:bodyPr/>
          <a:lstStyle/>
          <a:p>
            <a:r>
              <a:rPr lang="en-US"/>
              <a:t>Microsoft Ignite 2015</a:t>
            </a:r>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fld id="{38EEC551-8CDA-4EB6-89BB-2A86C9F091C8}" type="datetime8">
              <a:rPr lang="en-US" smtClean="0"/>
              <a:t>8/31/2018 9:48 A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7</a:t>
            </a:fld>
            <a:endParaRPr lang="en-US" dirty="0"/>
          </a:p>
        </p:txBody>
      </p:sp>
    </p:spTree>
    <p:extLst>
      <p:ext uri="{BB962C8B-B14F-4D97-AF65-F5344CB8AC3E}">
        <p14:creationId xmlns:p14="http://schemas.microsoft.com/office/powerpoint/2010/main" val="230964096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iot-hub/iot-hub-create-through-portal</a:t>
            </a:r>
          </a:p>
        </p:txBody>
      </p:sp>
      <p:sp>
        <p:nvSpPr>
          <p:cNvPr id="4" name="Header Placeholder 3"/>
          <p:cNvSpPr>
            <a:spLocks noGrp="1"/>
          </p:cNvSpPr>
          <p:nvPr>
            <p:ph type="hdr" sz="quarter"/>
          </p:nvPr>
        </p:nvSpPr>
        <p:spPr/>
        <p:txBody>
          <a:bodyPr/>
          <a:lstStyle/>
          <a:p>
            <a:r>
              <a:rPr lang="en-US"/>
              <a:t>Microsoft Ignite 2015</a:t>
            </a:r>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fld id="{38EEC551-8CDA-4EB6-89BB-2A86C9F091C8}" type="datetime8">
              <a:rPr lang="en-US" smtClean="0"/>
              <a:t>8/31/2018 9:40 A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10195915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2.emf"/><Relationship Id="rId4" Type="http://schemas.openxmlformats.org/officeDocument/2006/relationships/oleObject" Target="../embeddings/oleObject1.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4.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2.emf"/><Relationship Id="rId5" Type="http://schemas.openxmlformats.org/officeDocument/2006/relationships/oleObject" Target="../embeddings/oleObject2.bin"/><Relationship Id="rId4" Type="http://schemas.openxmlformats.org/officeDocument/2006/relationships/image" Target="../media/image13.png"/></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587"/>
            <a:ext cx="12430199" cy="6991986"/>
          </a:xfrm>
          <a:prstGeom prst="rect">
            <a:avLst/>
          </a:prstGeom>
          <a:noFill/>
          <a:ln>
            <a:noFill/>
          </a:ln>
        </p:spPr>
      </p:pic>
      <p:sp>
        <p:nvSpPr>
          <p:cNvPr id="3" name="Rectangle 2"/>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5"/>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
        <p:nvSpPr>
          <p:cNvPr id="9" name="Rectangle 8"/>
          <p:cNvSpPr/>
          <p:nvPr userDrawn="1"/>
        </p:nvSpPr>
        <p:spPr>
          <a:xfrm>
            <a:off x="293752" y="3040063"/>
            <a:ext cx="4333238" cy="784830"/>
          </a:xfrm>
          <a:prstGeom prst="rect">
            <a:avLst/>
          </a:prstGeom>
        </p:spPr>
        <p:txBody>
          <a:bodyPr wrap="none" anchor="ctr">
            <a:spAutoFit/>
          </a:bodyPr>
          <a:lstStyle/>
          <a:p>
            <a:pPr algn="r" defTabSz="1165834" rtl="0" eaLnBrk="1" latinLnBrk="0" hangingPunct="1">
              <a:lnSpc>
                <a:spcPct val="90000"/>
              </a:lnSpc>
              <a:spcBef>
                <a:spcPct val="0"/>
              </a:spcBef>
              <a:buNone/>
            </a:pPr>
            <a:r>
              <a:rPr lang="en-US" sz="5000" b="0" kern="1200" cap="none" spc="-125" baseline="0" noProof="0" dirty="0">
                <a:ln w="3175">
                  <a:noFill/>
                </a:ln>
                <a:gradFill>
                  <a:gsLst>
                    <a:gs pos="84066">
                      <a:srgbClr val="000000"/>
                    </a:gs>
                    <a:gs pos="57576">
                      <a:srgbClr val="000000"/>
                    </a:gs>
                  </a:gsLst>
                  <a:lin ang="5400000" scaled="0"/>
                </a:gradFill>
                <a:effectLst/>
                <a:latin typeface="+mj-lt"/>
                <a:ea typeface="+mn-ea"/>
                <a:cs typeface="Segoe UI" pitchFamily="34" charset="0"/>
              </a:rPr>
              <a:t>Spark the future.</a:t>
            </a:r>
            <a:endParaRPr lang="en-US" sz="5000" b="0" kern="1200" cap="none" spc="-125" baseline="0" dirty="0">
              <a:ln w="3175">
                <a:noFill/>
              </a:ln>
              <a:gradFill>
                <a:gsLst>
                  <a:gs pos="84066">
                    <a:srgbClr val="000000"/>
                  </a:gs>
                  <a:gs pos="57576">
                    <a:srgbClr val="000000"/>
                  </a:gs>
                </a:gsLst>
                <a:lin ang="5400000" scaled="0"/>
              </a:gradFill>
              <a:effectLst/>
              <a:latin typeface="+mj-lt"/>
              <a:ea typeface="+mn-ea"/>
              <a:cs typeface="Segoe UI" pitchFamily="34" charset="0"/>
            </a:endParaRPr>
          </a:p>
        </p:txBody>
      </p:sp>
      <p:sp>
        <p:nvSpPr>
          <p:cNvPr id="10" name="Rectangle 9"/>
          <p:cNvSpPr/>
          <p:nvPr userDrawn="1"/>
        </p:nvSpPr>
        <p:spPr>
          <a:xfrm>
            <a:off x="2441776" y="4617847"/>
            <a:ext cx="2185214" cy="715581"/>
          </a:xfrm>
          <a:prstGeom prst="rect">
            <a:avLst/>
          </a:prstGeom>
        </p:spPr>
        <p:txBody>
          <a:bodyPr wrap="none" anchor="ctr">
            <a:spAutoFit/>
          </a:bodyPr>
          <a:lstStyle/>
          <a:p>
            <a:pPr algn="r" defTabSz="1165834" rtl="0" eaLnBrk="1" latinLnBrk="0" hangingPunct="1">
              <a:lnSpc>
                <a:spcPct val="90000"/>
              </a:lnSpc>
              <a:spcBef>
                <a:spcPct val="0"/>
              </a:spcBef>
              <a:buNone/>
            </a:pPr>
            <a:r>
              <a:rPr lang="en-US" sz="2250" b="0" kern="1200" cap="none" spc="0" baseline="0" noProof="0" dirty="0">
                <a:ln w="3175">
                  <a:noFill/>
                </a:ln>
                <a:gradFill>
                  <a:gsLst>
                    <a:gs pos="84066">
                      <a:srgbClr val="000000"/>
                    </a:gs>
                    <a:gs pos="57576">
                      <a:srgbClr val="000000"/>
                    </a:gs>
                  </a:gsLst>
                  <a:lin ang="5400000" scaled="0"/>
                </a:gradFill>
                <a:effectLst/>
                <a:latin typeface="+mn-lt"/>
                <a:ea typeface="+mn-ea"/>
                <a:cs typeface="Segoe UI" pitchFamily="34" charset="0"/>
              </a:rPr>
              <a:t>May 4 – 8, 2015</a:t>
            </a:r>
            <a:br>
              <a:rPr lang="en-US" sz="2250" b="0" kern="1200" cap="none" spc="0" baseline="0" noProof="0" dirty="0">
                <a:ln w="3175">
                  <a:noFill/>
                </a:ln>
                <a:gradFill>
                  <a:gsLst>
                    <a:gs pos="84066">
                      <a:srgbClr val="000000"/>
                    </a:gs>
                    <a:gs pos="57576">
                      <a:srgbClr val="000000"/>
                    </a:gs>
                  </a:gsLst>
                  <a:lin ang="5400000" scaled="0"/>
                </a:gradFill>
                <a:effectLst/>
                <a:latin typeface="+mn-lt"/>
                <a:ea typeface="+mn-ea"/>
                <a:cs typeface="Segoe UI" pitchFamily="34" charset="0"/>
              </a:rPr>
            </a:br>
            <a:r>
              <a:rPr lang="en-US" sz="2250" b="0" kern="1200" cap="none" spc="0" baseline="0" noProof="0" dirty="0">
                <a:ln w="3175">
                  <a:noFill/>
                </a:ln>
                <a:gradFill>
                  <a:gsLst>
                    <a:gs pos="84066">
                      <a:srgbClr val="000000"/>
                    </a:gs>
                    <a:gs pos="57576">
                      <a:srgbClr val="000000"/>
                    </a:gs>
                  </a:gsLst>
                  <a:lin ang="5400000" scaled="0"/>
                </a:gradFill>
                <a:effectLst/>
                <a:latin typeface="+mn-lt"/>
                <a:ea typeface="+mn-ea"/>
                <a:cs typeface="Segoe UI" pitchFamily="34" charset="0"/>
              </a:rPr>
              <a:t>Chicago, IL</a:t>
            </a:r>
            <a:endParaRPr lang="en-US" sz="2250" b="0" kern="1200" cap="none" spc="0" baseline="0" dirty="0">
              <a:ln w="3175">
                <a:noFill/>
              </a:ln>
              <a:gradFill>
                <a:gsLst>
                  <a:gs pos="84066">
                    <a:srgbClr val="000000"/>
                  </a:gs>
                  <a:gs pos="57576">
                    <a:srgbClr val="000000"/>
                  </a:gs>
                </a:gsLst>
                <a:lin ang="5400000" scaled="0"/>
              </a:gradFill>
              <a:effectLst/>
              <a:latin typeface="+mn-lt"/>
              <a:ea typeface="+mn-ea"/>
              <a:cs typeface="Segoe UI" pitchFamily="34" charset="0"/>
            </a:endParaRPr>
          </a:p>
        </p:txBody>
      </p:sp>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002510" y="4088040"/>
            <a:ext cx="2494315" cy="384949"/>
          </a:xfrm>
          <a:prstGeom prst="rect">
            <a:avLst/>
          </a:prstGeom>
        </p:spPr>
      </p:pic>
    </p:spTree>
    <p:extLst>
      <p:ext uri="{BB962C8B-B14F-4D97-AF65-F5344CB8AC3E}">
        <p14:creationId xmlns:p14="http://schemas.microsoft.com/office/powerpoint/2010/main" val="2655962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315" indent="-287315">
              <a:spcBef>
                <a:spcPts val="1224"/>
              </a:spcBef>
              <a:buClr>
                <a:schemeClr val="tx1"/>
              </a:buClr>
              <a:buFont typeface="Wingdings" panose="05000000000000000000" pitchFamily="2" charset="2"/>
              <a:buChar char="§"/>
              <a:defRPr sz="3200"/>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0" y="1212849"/>
            <a:ext cx="5486399" cy="2425279"/>
          </a:xfrm>
        </p:spPr>
        <p:txBody>
          <a:bodyPr wrap="square">
            <a:spAutoFit/>
          </a:bodyPr>
          <a:lstStyle>
            <a:lvl1pPr marL="287315" indent="-287315">
              <a:spcBef>
                <a:spcPts val="1224"/>
              </a:spcBef>
              <a:buClr>
                <a:schemeClr val="tx1"/>
              </a:buClr>
              <a:buFont typeface="Wingdings" panose="05000000000000000000" pitchFamily="2" charset="2"/>
              <a:buChar char="§"/>
              <a:defRPr sz="3200"/>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78982855"/>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89335521"/>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9" y="2136776"/>
            <a:ext cx="10056812" cy="1181862"/>
          </a:xfrm>
          <a:noFill/>
        </p:spPr>
        <p:txBody>
          <a:bodyPr tIns="91440" bIns="91440" anchor="t" anchorCtr="0">
            <a:spAutoFit/>
          </a:bodyPr>
          <a:lstStyle>
            <a:lvl1pPr>
              <a:defRPr sz="7199"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4881266"/>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6" name="Rectangle 5"/>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Tree>
    <p:extLst>
      <p:ext uri="{BB962C8B-B14F-4D97-AF65-F5344CB8AC3E}">
        <p14:creationId xmlns:p14="http://schemas.microsoft.com/office/powerpoint/2010/main" val="38976025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9" y="2125663"/>
            <a:ext cx="10056812" cy="1181862"/>
          </a:xfrm>
          <a:noFill/>
        </p:spPr>
        <p:txBody>
          <a:bodyPr tIns="91440" bIns="91440" anchor="t" anchorCtr="0">
            <a:spAutoFit/>
          </a:bodyPr>
          <a:lstStyle>
            <a:lvl1pPr>
              <a:defRPr lang="en-US" sz="7199"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4" name="Rectangle 3"/>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Tree>
    <p:extLst>
      <p:ext uri="{BB962C8B-B14F-4D97-AF65-F5344CB8AC3E}">
        <p14:creationId xmlns:p14="http://schemas.microsoft.com/office/powerpoint/2010/main" val="20258259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288490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8934554"/>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15834702"/>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08698505"/>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66291156"/>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1"/>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366974557"/>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 Color">
    <p:bg>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9" name="Title 1"/>
          <p:cNvSpPr>
            <a:spLocks noGrp="1"/>
          </p:cNvSpPr>
          <p:nvPr>
            <p:ph type="title" hasCustomPrompt="1"/>
          </p:nvPr>
        </p:nvSpPr>
        <p:spPr>
          <a:xfrm>
            <a:off x="274702" y="2125677"/>
            <a:ext cx="9143936" cy="1828786"/>
          </a:xfrm>
          <a:noFill/>
        </p:spPr>
        <p:txBody>
          <a:bodyPr lIns="146304" tIns="91440" rIns="146304" bIns="91440" anchor="t" anchorCtr="0"/>
          <a:lstStyle>
            <a:lvl1pPr>
              <a:defRPr sz="5399" spc="-100" baseline="0">
                <a:gradFill>
                  <a:gsLst>
                    <a:gs pos="99115">
                      <a:schemeClr val="tx1"/>
                    </a:gs>
                    <a:gs pos="79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2" y="3955785"/>
            <a:ext cx="7315137" cy="1828007"/>
          </a:xfrm>
          <a:noFill/>
        </p:spPr>
        <p:txBody>
          <a:bodyPr lIns="146304" tIns="109728" rIns="146304" bIns="109728">
            <a:noAutofit/>
          </a:bodyPr>
          <a:lstStyle>
            <a:lvl1pPr marL="0" indent="0">
              <a:spcBef>
                <a:spcPts val="0"/>
              </a:spcBef>
              <a:buNone/>
              <a:defRPr sz="3200" spc="0" baseline="0">
                <a:gradFill>
                  <a:gsLst>
                    <a:gs pos="99115">
                      <a:schemeClr val="tx1"/>
                    </a:gs>
                    <a:gs pos="79000">
                      <a:schemeClr val="tx1"/>
                    </a:gs>
                  </a:gsLst>
                  <a:lin ang="5400000" scaled="0"/>
                </a:gradFill>
                <a:latin typeface="+mj-lt"/>
              </a:defRPr>
            </a:lvl1pPr>
          </a:lstStyle>
          <a:p>
            <a:pPr lvl="0"/>
            <a:r>
              <a:rPr lang="en-US" dirty="0"/>
              <a:t>Speaker Name</a:t>
            </a:r>
          </a:p>
        </p:txBody>
      </p:sp>
      <p:sp>
        <p:nvSpPr>
          <p:cNvPr id="7" name="Rectangle 6"/>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Tree>
    <p:extLst>
      <p:ext uri="{BB962C8B-B14F-4D97-AF65-F5344CB8AC3E}">
        <p14:creationId xmlns:p14="http://schemas.microsoft.com/office/powerpoint/2010/main" val="25882318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8849218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0159915"/>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2390786"/>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2"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398" fontAlgn="base">
              <a:spcBef>
                <a:spcPct val="0"/>
              </a:spcBef>
              <a:spcAft>
                <a:spcPct val="0"/>
              </a:spcAft>
            </a:pPr>
            <a:endParaRPr lang="en-US" sz="225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9" y="1221158"/>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56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9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1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9962453"/>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2" y="0"/>
            <a:ext cx="12435840" cy="6995160"/>
          </a:xfrm>
          <a:prstGeom prst="rect">
            <a:avLst/>
          </a:prstGeom>
        </p:spPr>
      </p:pic>
      <p:sp>
        <p:nvSpPr>
          <p:cNvPr id="6" name="Rectangle 5"/>
          <p:cNvSpPr/>
          <p:nvPr userDrawn="1"/>
        </p:nvSpPr>
        <p:spPr bwMode="gray">
          <a:xfrm>
            <a:off x="0" y="4868863"/>
            <a:ext cx="12436475" cy="2125662"/>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2" name="Text Box 3"/>
          <p:cNvSpPr txBox="1">
            <a:spLocks noChangeArrowheads="1"/>
          </p:cNvSpPr>
          <p:nvPr userDrawn="1"/>
        </p:nvSpPr>
        <p:spPr bwMode="white">
          <a:xfrm>
            <a:off x="7589822" y="6294476"/>
            <a:ext cx="45719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algn="r" defTabSz="932215" eaLnBrk="0" hangingPunct="0"/>
            <a:r>
              <a:rPr lang="en-US" sz="700" dirty="0">
                <a:gradFill>
                  <a:gsLst>
                    <a:gs pos="12389">
                      <a:srgbClr val="FFFFFF"/>
                    </a:gs>
                    <a:gs pos="54000">
                      <a:srgbClr val="FFFFFF"/>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59230" y="5580859"/>
            <a:ext cx="3291840" cy="701671"/>
          </a:xfrm>
          <a:prstGeom prst="rect">
            <a:avLst/>
          </a:prstGeom>
        </p:spPr>
      </p:pic>
    </p:spTree>
    <p:extLst>
      <p:ext uri="{BB962C8B-B14F-4D97-AF65-F5344CB8AC3E}">
        <p14:creationId xmlns:p14="http://schemas.microsoft.com/office/powerpoint/2010/main" val="172939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490" indent="-290490">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454" indent="-280966">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944" indent="-290490">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526" indent="-228582">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107" indent="-228582">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82969643"/>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43977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1534779"/>
          </a:xfrm>
        </p:spPr>
        <p:txBody>
          <a:bodyPr>
            <a:spAutoFit/>
          </a:bodyPr>
          <a:lstStyle>
            <a:lvl1pPr>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84200" indent="-241300">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71441" indent="-342900">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2000"/>
            </a:lvl4pPr>
            <a:lvl5pPr>
              <a:defRPr sz="2000"/>
            </a:lvl5pPr>
          </a:lstStyle>
          <a:p>
            <a:pPr marL="0" lvl="0" indent="0" algn="l" defTabSz="914166" rtl="0" eaLnBrk="1" latinLnBrk="0" hangingPunct="1">
              <a:spcBef>
                <a:spcPct val="20000"/>
              </a:spcBef>
              <a:spcAft>
                <a:spcPts val="816"/>
              </a:spcAft>
              <a:buFont typeface="Arial" pitchFamily="34" charset="0"/>
              <a:buNone/>
            </a:pPr>
            <a:r>
              <a:rPr lang="en-US"/>
              <a:t>Click to edit Master text styles</a:t>
            </a:r>
          </a:p>
          <a:p>
            <a:pPr marL="0" lvl="1" indent="0" algn="l" defTabSz="914166" rtl="0" eaLnBrk="1" latinLnBrk="0" hangingPunct="1">
              <a:spcBef>
                <a:spcPct val="20000"/>
              </a:spcBef>
              <a:spcAft>
                <a:spcPts val="816"/>
              </a:spcAft>
              <a:buFont typeface="Arial" pitchFamily="34" charset="0"/>
              <a:buNone/>
            </a:pPr>
            <a:r>
              <a:rPr lang="en-US"/>
              <a:t>Second level</a:t>
            </a:r>
          </a:p>
          <a:p>
            <a:pPr marL="0" lvl="2" indent="0" algn="l" defTabSz="914166" rtl="0" eaLnBrk="1" latinLnBrk="0" hangingPunct="1">
              <a:spcBef>
                <a:spcPct val="20000"/>
              </a:spcBef>
              <a:spcAft>
                <a:spcPts val="816"/>
              </a:spcAft>
              <a:buFont typeface="Arial" pitchFamily="34" charset="0"/>
              <a:buNone/>
            </a:pPr>
            <a:r>
              <a:rPr lang="en-US"/>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3253611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3"/>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74702" y="2117165"/>
            <a:ext cx="11887135" cy="1837298"/>
          </a:xfrm>
          <a:noFill/>
        </p:spPr>
        <p:txBody>
          <a:bodyPr lIns="146304" tIns="91440" rIns="146304" bIns="91440" anchor="t" anchorCtr="0"/>
          <a:lstStyle>
            <a:lvl1pPr>
              <a:defRPr sz="5400" spc="-100" baseline="0">
                <a:gradFill>
                  <a:gsLst>
                    <a:gs pos="3333">
                      <a:schemeClr val="tx1"/>
                    </a:gs>
                    <a:gs pos="39000">
                      <a:schemeClr val="tx1"/>
                    </a:gs>
                  </a:gsLst>
                  <a:lin ang="5400000" scaled="0"/>
                </a:gradFill>
              </a:defRPr>
            </a:lvl1pPr>
          </a:lstStyle>
          <a:p>
            <a:r>
              <a:rPr lang="en-US" dirty="0"/>
              <a:t>Presentation title</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129837" y="6126162"/>
            <a:ext cx="1849602" cy="394827"/>
          </a:xfrm>
          <a:prstGeom prst="rect">
            <a:avLst/>
          </a:prstGeom>
          <a:noFill/>
          <a:ln>
            <a:noFill/>
          </a:ln>
        </p:spPr>
      </p:pic>
      <p:sp>
        <p:nvSpPr>
          <p:cNvPr id="3" name="Text Placeholder 2"/>
          <p:cNvSpPr>
            <a:spLocks noGrp="1"/>
          </p:cNvSpPr>
          <p:nvPr>
            <p:ph type="body" sz="quarter" idx="13" hasCustomPrompt="1"/>
          </p:nvPr>
        </p:nvSpPr>
        <p:spPr>
          <a:xfrm>
            <a:off x="274702" y="307621"/>
            <a:ext cx="3656013" cy="572464"/>
          </a:xfrm>
        </p:spPr>
        <p:txBody>
          <a:bodyPr lIns="182880" tIns="146304" rIns="182880" bIns="146304"/>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 Here</a:t>
            </a:r>
          </a:p>
        </p:txBody>
      </p:sp>
    </p:spTree>
    <p:extLst>
      <p:ext uri="{BB962C8B-B14F-4D97-AF65-F5344CB8AC3E}">
        <p14:creationId xmlns:p14="http://schemas.microsoft.com/office/powerpoint/2010/main" val="651201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20354">
                      <a:schemeClr val="tx2"/>
                    </a:gs>
                    <a:gs pos="40000">
                      <a:schemeClr val="tx2"/>
                    </a:gs>
                  </a:gsLst>
                  <a:lin ang="5400000" scaled="0"/>
                </a:gradFill>
              </a:defRPr>
            </a:lvl1pPr>
            <a:lvl2pPr marL="0" indent="0">
              <a:buFontTx/>
              <a:buNone/>
              <a:defRPr sz="2000"/>
            </a:lvl2pPr>
            <a:lvl3pPr marL="228582" indent="0">
              <a:buNone/>
              <a:defRPr/>
            </a:lvl3pPr>
            <a:lvl4pPr marL="457163" indent="0">
              <a:buNone/>
              <a:defRPr/>
            </a:lvl4pPr>
            <a:lvl5pPr marL="68574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31337368"/>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3"/>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74702" y="2117165"/>
            <a:ext cx="11887135" cy="1837298"/>
          </a:xfrm>
          <a:noFill/>
        </p:spPr>
        <p:txBody>
          <a:bodyPr lIns="146304" tIns="91440" rIns="146304" bIns="91440" anchor="t" anchorCtr="0"/>
          <a:lstStyle>
            <a:lvl1pPr>
              <a:defRPr sz="5400" spc="-100" baseline="0">
                <a:gradFill>
                  <a:gsLst>
                    <a:gs pos="3333">
                      <a:schemeClr val="tx1"/>
                    </a:gs>
                    <a:gs pos="39000">
                      <a:schemeClr val="tx1"/>
                    </a:gs>
                  </a:gsLst>
                  <a:lin ang="5400000" scaled="0"/>
                </a:gradFill>
              </a:defRPr>
            </a:lvl1pPr>
          </a:lstStyle>
          <a:p>
            <a:r>
              <a:rPr lang="en-US" dirty="0"/>
              <a:t>Presentation title</a:t>
            </a:r>
          </a:p>
        </p:txBody>
      </p:sp>
      <p:sp>
        <p:nvSpPr>
          <p:cNvPr id="4" name="Freeform 3"/>
          <p:cNvSpPr>
            <a:spLocks noChangeAspect="1" noEditPoints="1"/>
          </p:cNvSpPr>
          <p:nvPr userDrawn="1"/>
        </p:nvSpPr>
        <p:spPr bwMode="black">
          <a:xfrm>
            <a:off x="10332993" y="6103269"/>
            <a:ext cx="1639861" cy="411480"/>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91440" tIns="45720" rIns="91440" bIns="45720" numCol="1" anchor="t" anchorCtr="0" compatLnSpc="1">
            <a:prstTxWarp prst="textNoShape">
              <a:avLst/>
            </a:prstTxWarp>
          </a:bodyPr>
          <a:lstStyle/>
          <a:p>
            <a:endParaRPr lang="en-US">
              <a:solidFill>
                <a:srgbClr val="404040"/>
              </a:solidFill>
            </a:endParaRPr>
          </a:p>
        </p:txBody>
      </p:sp>
      <p:sp>
        <p:nvSpPr>
          <p:cNvPr id="6" name="Text Placeholder 2"/>
          <p:cNvSpPr>
            <a:spLocks noGrp="1"/>
          </p:cNvSpPr>
          <p:nvPr>
            <p:ph type="body" sz="quarter" idx="13" hasCustomPrompt="1"/>
          </p:nvPr>
        </p:nvSpPr>
        <p:spPr>
          <a:xfrm>
            <a:off x="274702" y="307621"/>
            <a:ext cx="3656013" cy="572464"/>
          </a:xfrm>
        </p:spPr>
        <p:txBody>
          <a:bodyPr lIns="182880" tIns="146304" rIns="182880" bIns="146304"/>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 Here</a:t>
            </a:r>
          </a:p>
        </p:txBody>
      </p:sp>
    </p:spTree>
    <p:extLst>
      <p:ext uri="{BB962C8B-B14F-4D97-AF65-F5344CB8AC3E}">
        <p14:creationId xmlns:p14="http://schemas.microsoft.com/office/powerpoint/2010/main" val="33931209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00949230"/>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1pPr marL="0" indent="0">
              <a:spcBef>
                <a:spcPts val="1800"/>
              </a:spcBef>
              <a:buNone/>
              <a:defRPr/>
            </a:lvl1pPr>
            <a:lvl2pPr marL="0" indent="0">
              <a:buNone/>
              <a:defRPr>
                <a:solidFill>
                  <a:schemeClr val="accent2">
                    <a:lumMod val="60000"/>
                    <a:lumOff val="40000"/>
                  </a:schemeClr>
                </a:solidFill>
              </a:defRPr>
            </a:lvl2pPr>
            <a:lvl3pPr marL="0" indent="0">
              <a:buNone/>
              <a:defRPr sz="2400"/>
            </a:lvl3pPr>
            <a:lvl4pPr marL="0" indent="0">
              <a:buNone/>
              <a:defRPr sz="2000"/>
            </a:lvl4pPr>
            <a:lvl5pPr marL="0" indent="0">
              <a:buNone/>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38635940"/>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761038" y="1212850"/>
            <a:ext cx="6400800" cy="2782300"/>
          </a:xfrm>
        </p:spPr>
        <p:txBody>
          <a:bodyPr wrap="square">
            <a:spAutoFit/>
          </a:bodyPr>
          <a:lstStyle>
            <a:lvl3pPr>
              <a:defRPr sz="24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11528313"/>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761038" y="1212850"/>
            <a:ext cx="6400800" cy="2782300"/>
          </a:xfrm>
        </p:spPr>
        <p:txBody>
          <a:bodyPr wrap="square">
            <a:spAutoFit/>
          </a:bodyPr>
          <a:lstStyle>
            <a:lvl1pPr marL="0" indent="0">
              <a:spcBef>
                <a:spcPts val="1800"/>
              </a:spcBef>
              <a:buNone/>
              <a:defRPr/>
            </a:lvl1pPr>
            <a:lvl2pPr marL="0" indent="0">
              <a:buNone/>
              <a:defRPr/>
            </a:lvl2pPr>
            <a:lvl3pPr marL="0" indent="0">
              <a:buNone/>
              <a:defRPr sz="2400"/>
            </a:lvl3pPr>
            <a:lvl4pPr marL="0" indent="0">
              <a:buNone/>
              <a:defRPr sz="2000"/>
            </a:lvl4pPr>
            <a:lvl5pPr marL="0" indent="0">
              <a:buNone/>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hasCustomPrompt="1"/>
          </p:nvPr>
        </p:nvSpPr>
        <p:spPr>
          <a:xfrm>
            <a:off x="5761037" y="295274"/>
            <a:ext cx="6403165" cy="917575"/>
          </a:xfrm>
        </p:spPr>
        <p:txBody>
          <a:bodyPr/>
          <a:lstStyle/>
          <a:p>
            <a:r>
              <a:rPr lang="en-US" dirty="0"/>
              <a:t>Click to edit Master style</a:t>
            </a:r>
          </a:p>
        </p:txBody>
      </p:sp>
    </p:spTree>
    <p:extLst>
      <p:ext uri="{BB962C8B-B14F-4D97-AF65-F5344CB8AC3E}">
        <p14:creationId xmlns:p14="http://schemas.microsoft.com/office/powerpoint/2010/main" val="1098582683"/>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83628" y="1668463"/>
            <a:ext cx="8778210" cy="5029200"/>
          </a:xfrm>
        </p:spPr>
        <p:txBody>
          <a:bodyPr wrap="square">
            <a:no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83148" y="1668463"/>
            <a:ext cx="2743200" cy="5029200"/>
          </a:xfrm>
        </p:spPr>
        <p:txBody>
          <a:bodyPr>
            <a:noAutofit/>
          </a:bodyPr>
          <a:lstStyle>
            <a:lvl1pPr marL="0" indent="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a:t>Click to edit Master text styles</a:t>
            </a:r>
          </a:p>
        </p:txBody>
      </p:sp>
    </p:spTree>
    <p:extLst>
      <p:ext uri="{BB962C8B-B14F-4D97-AF65-F5344CB8AC3E}">
        <p14:creationId xmlns:p14="http://schemas.microsoft.com/office/powerpoint/2010/main" val="2089023969"/>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89038" y="2125663"/>
            <a:ext cx="10058399" cy="1828800"/>
          </a:xfrm>
        </p:spPr>
        <p:txBody>
          <a:bodyPr/>
          <a:lstStyle>
            <a:lvl1pPr>
              <a:defRPr sz="4800" baseline="0"/>
            </a:lvl1pPr>
          </a:lstStyle>
          <a:p>
            <a:r>
              <a:rPr lang="en-US"/>
              <a:t>Click to edit Master title style</a:t>
            </a:r>
            <a:endParaRPr lang="en-US" dirty="0"/>
          </a:p>
        </p:txBody>
      </p:sp>
    </p:spTree>
    <p:extLst>
      <p:ext uri="{BB962C8B-B14F-4D97-AF65-F5344CB8AC3E}">
        <p14:creationId xmlns:p14="http://schemas.microsoft.com/office/powerpoint/2010/main" val="859866867"/>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hasCustomPrompt="1"/>
          </p:nvPr>
        </p:nvSpPr>
        <p:spPr>
          <a:xfrm>
            <a:off x="283148" y="1668463"/>
            <a:ext cx="2743200" cy="5029200"/>
          </a:xfrm>
        </p:spPr>
        <p:txBody>
          <a:bodyPr>
            <a:noAutofit/>
          </a:bodyPr>
          <a:lstStyle>
            <a:lvl1pPr marL="342900" indent="-34290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dirty="0"/>
              <a:t>Click to edit</a:t>
            </a:r>
            <a:br>
              <a:rPr lang="en-US" dirty="0"/>
            </a:br>
            <a:r>
              <a:rPr lang="en-US" dirty="0"/>
              <a:t>Master text styles</a:t>
            </a:r>
          </a:p>
        </p:txBody>
      </p:sp>
    </p:spTree>
    <p:extLst>
      <p:ext uri="{BB962C8B-B14F-4D97-AF65-F5344CB8AC3E}">
        <p14:creationId xmlns:p14="http://schemas.microsoft.com/office/powerpoint/2010/main" val="1506819252"/>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wrap="square" lIns="182880" tIns="146304" rIns="182880" bIns="146304" anchor="ctr">
            <a:noAutofit/>
          </a:bodyPr>
          <a:lstStyle>
            <a:lvl1pPr marL="0" indent="0">
              <a:lnSpc>
                <a:spcPct val="95000"/>
              </a:lnSpc>
              <a:spcBef>
                <a:spcPts val="0"/>
              </a:spcBef>
              <a:spcAft>
                <a:spcPts val="1632"/>
              </a:spcAft>
              <a:buNone/>
              <a:defRPr lang="en-US" sz="3600"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16"/>
              </a:spcBef>
              <a:defRPr sz="1900">
                <a:solidFill>
                  <a:srgbClr val="FFFFFF"/>
                </a:solidFill>
              </a:defRPr>
            </a:lvl2pPr>
            <a:lvl3pPr>
              <a:lnSpc>
                <a:spcPct val="100000"/>
              </a:lnSpc>
              <a:spcBef>
                <a:spcPts val="816"/>
              </a:spcBef>
              <a:defRPr sz="1900">
                <a:solidFill>
                  <a:srgbClr val="FFFFFF"/>
                </a:solidFill>
              </a:defRPr>
            </a:lvl3pPr>
            <a:lvl4pPr>
              <a:lnSpc>
                <a:spcPct val="100000"/>
              </a:lnSpc>
              <a:spcBef>
                <a:spcPts val="816"/>
              </a:spcBef>
              <a:defRPr sz="1900">
                <a:solidFill>
                  <a:srgbClr val="FFFFFF"/>
                </a:solidFill>
              </a:defRPr>
            </a:lvl4pPr>
            <a:lvl5pPr>
              <a:lnSpc>
                <a:spcPct val="100000"/>
              </a:lnSpc>
              <a:spcBef>
                <a:spcPts val="816"/>
              </a:spcBef>
              <a:defRPr sz="1900">
                <a:solidFill>
                  <a:srgbClr val="FFFFFF"/>
                </a:solidFill>
              </a:defRPr>
            </a:lvl5pPr>
          </a:lstStyle>
          <a:p>
            <a:pPr marL="0" lvl="0" indent="0" algn="l" defTabSz="914166" rtl="0" eaLnBrk="1" latinLnBrk="0" hangingPunct="1">
              <a:spcBef>
                <a:spcPct val="20000"/>
              </a:spcBef>
            </a:pPr>
            <a:r>
              <a:rPr lang="en-US"/>
              <a:t>Click to edit Master text styles</a:t>
            </a:r>
          </a:p>
        </p:txBody>
      </p:sp>
      <p:sp>
        <p:nvSpPr>
          <p:cNvPr id="15" name="Title 1"/>
          <p:cNvSpPr>
            <a:spLocks noGrp="1"/>
          </p:cNvSpPr>
          <p:nvPr>
            <p:ph type="ctrTitle" hasCustomPrompt="1"/>
          </p:nvPr>
        </p:nvSpPr>
        <p:spPr>
          <a:xfrm>
            <a:off x="274638" y="1537563"/>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40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2737777941"/>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182880" tIns="146304" rIns="182880" bIns="146304" rtlCol="0" anchor="ctr">
            <a:noAutofit/>
          </a:bodyPr>
          <a:lstStyle>
            <a:lvl1pPr marL="0" indent="0">
              <a:buNone/>
              <a:defRPr lang="en-US" sz="3600"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914166" rtl="0" eaLnBrk="1" latinLnBrk="0" hangingPunct="1">
              <a:spcBef>
                <a:spcPct val="20000"/>
              </a:spcBef>
              <a:spcAft>
                <a:spcPts val="1632"/>
              </a:spcAft>
            </a:pPr>
            <a:r>
              <a:rPr lang="en-US"/>
              <a:t>Click to edit Master text styles</a:t>
            </a:r>
          </a:p>
        </p:txBody>
      </p:sp>
      <p:sp>
        <p:nvSpPr>
          <p:cNvPr id="6" name="Text Placeholder 8"/>
          <p:cNvSpPr>
            <a:spLocks noGrp="1"/>
          </p:cNvSpPr>
          <p:nvPr>
            <p:ph type="body" sz="quarter" idx="16" hasCustomPrompt="1"/>
          </p:nvPr>
        </p:nvSpPr>
        <p:spPr>
          <a:xfrm>
            <a:off x="274641" y="296864"/>
            <a:ext cx="11887199" cy="914400"/>
          </a:xfrm>
        </p:spPr>
        <p:txBody>
          <a:bodyPr vert="horz" lIns="182880" tIns="146304" rIns="182880" bIns="146304" rtlCol="0" anchor="t">
            <a:noAutofit/>
          </a:bodyPr>
          <a:lstStyle>
            <a:lvl1pPr marL="0" indent="0"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dirty="0"/>
              <a:t>Click to edit master text styles</a:t>
            </a:r>
          </a:p>
        </p:txBody>
      </p:sp>
      <p:sp>
        <p:nvSpPr>
          <p:cNvPr id="5" name="Title 1"/>
          <p:cNvSpPr>
            <a:spLocks noGrp="1"/>
          </p:cNvSpPr>
          <p:nvPr>
            <p:ph type="ctrTitle" hasCustomPrompt="1"/>
          </p:nvPr>
        </p:nvSpPr>
        <p:spPr>
          <a:xfrm>
            <a:off x="274638" y="1537564"/>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40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3942346761"/>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82" indent="0">
              <a:buNone/>
              <a:defRPr/>
            </a:lvl3pPr>
            <a:lvl4pPr marL="457163" indent="0">
              <a:buNone/>
              <a:defRPr/>
            </a:lvl4pPr>
            <a:lvl5pPr marL="68574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86098637"/>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182880" tIns="146304" rIns="182880" bIns="146304" rtlCol="0" anchor="ctr">
            <a:noAutofit/>
          </a:bodyPr>
          <a:lstStyle>
            <a:lvl1pPr marL="0" indent="0">
              <a:buFont typeface="Arial" panose="020B0604020202020204" pitchFamily="34" charset="0"/>
              <a:buNone/>
              <a:defRPr lang="en-US" sz="3600" kern="1200" dirty="0" smtClean="0">
                <a:gradFill>
                  <a:gsLst>
                    <a:gs pos="1299">
                      <a:schemeClr val="tx1"/>
                    </a:gs>
                    <a:gs pos="100000">
                      <a:schemeClr val="tx1"/>
                    </a:gs>
                  </a:gsLst>
                  <a:lin ang="5400000" scaled="0"/>
                </a:gradFill>
                <a:latin typeface="+mj-lt"/>
                <a:ea typeface="+mn-ea"/>
                <a:cs typeface="+mn-cs"/>
              </a:defRPr>
            </a:lvl1pPr>
          </a:lstStyle>
          <a:p>
            <a:pPr marL="0" lvl="0" indent="0" algn="l" defTabSz="914166" rtl="0" eaLnBrk="1" latinLnBrk="0" hangingPunct="1">
              <a:spcBef>
                <a:spcPct val="20000"/>
              </a:spcBef>
            </a:pPr>
            <a:r>
              <a:rPr lang="en-US"/>
              <a:t>Click to edit Master text styles</a:t>
            </a:r>
          </a:p>
        </p:txBody>
      </p:sp>
      <p:sp>
        <p:nvSpPr>
          <p:cNvPr id="7" name="Picture Placeholder 12"/>
          <p:cNvSpPr>
            <a:spLocks noGrp="1"/>
          </p:cNvSpPr>
          <p:nvPr>
            <p:ph type="pic" sz="quarter" idx="16"/>
          </p:nvPr>
        </p:nvSpPr>
        <p:spPr>
          <a:xfrm>
            <a:off x="274638" y="1535875"/>
            <a:ext cx="3931920" cy="392277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a:t>Click to edit Master title style</a:t>
            </a:r>
            <a:endParaRPr lang="en-US" dirty="0"/>
          </a:p>
        </p:txBody>
      </p:sp>
    </p:spTree>
    <p:extLst>
      <p:ext uri="{BB962C8B-B14F-4D97-AF65-F5344CB8AC3E}">
        <p14:creationId xmlns:p14="http://schemas.microsoft.com/office/powerpoint/2010/main" val="2440863281"/>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1534779"/>
          </a:xfrm>
        </p:spPr>
        <p:txBody>
          <a:bodyPr>
            <a:spAutoFit/>
          </a:bodyPr>
          <a:lstStyle>
            <a:lvl1pPr>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84200" indent="-241300">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71441" indent="-342900">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2000"/>
            </a:lvl4pPr>
            <a:lvl5pPr>
              <a:defRPr sz="2000"/>
            </a:lvl5pPr>
          </a:lstStyle>
          <a:p>
            <a:pPr marL="0" lvl="0" indent="0" algn="l" defTabSz="914166" rtl="0" eaLnBrk="1" latinLnBrk="0" hangingPunct="1">
              <a:spcBef>
                <a:spcPct val="20000"/>
              </a:spcBef>
              <a:spcAft>
                <a:spcPts val="816"/>
              </a:spcAft>
              <a:buFont typeface="Arial" pitchFamily="34" charset="0"/>
              <a:buNone/>
            </a:pPr>
            <a:r>
              <a:rPr lang="en-US"/>
              <a:t>Click to edit Master text styles</a:t>
            </a:r>
          </a:p>
          <a:p>
            <a:pPr marL="0" lvl="1" indent="0" algn="l" defTabSz="914166" rtl="0" eaLnBrk="1" latinLnBrk="0" hangingPunct="1">
              <a:spcBef>
                <a:spcPct val="20000"/>
              </a:spcBef>
              <a:spcAft>
                <a:spcPts val="816"/>
              </a:spcAft>
              <a:buFont typeface="Arial" pitchFamily="34" charset="0"/>
              <a:buNone/>
            </a:pPr>
            <a:r>
              <a:rPr lang="en-US"/>
              <a:t>Second level</a:t>
            </a:r>
          </a:p>
          <a:p>
            <a:pPr marL="0" lvl="2" indent="0" algn="l" defTabSz="914166" rtl="0" eaLnBrk="1" latinLnBrk="0" hangingPunct="1">
              <a:spcBef>
                <a:spcPct val="20000"/>
              </a:spcBef>
              <a:spcAft>
                <a:spcPts val="816"/>
              </a:spcAft>
              <a:buFont typeface="Arial" pitchFamily="34" charset="0"/>
              <a:buNone/>
            </a:pPr>
            <a:r>
              <a:rPr lang="en-US"/>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74455359"/>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5182136"/>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2137568" y="2473325"/>
            <a:ext cx="8161338" cy="2047875"/>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91440" tIns="45720" rIns="91440" bIns="45720" numCol="1" anchor="t" anchorCtr="0" compatLnSpc="1">
            <a:prstTxWarp prst="textNoShape">
              <a:avLst/>
            </a:prstTxWarp>
          </a:bodyPr>
          <a:lstStyle/>
          <a:p>
            <a:endParaRPr lang="en-US">
              <a:solidFill>
                <a:srgbClr val="404040"/>
              </a:solidFill>
            </a:endParaRP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129837" y="6126162"/>
            <a:ext cx="1849602" cy="394827"/>
          </a:xfrm>
          <a:prstGeom prst="rect">
            <a:avLst/>
          </a:prstGeom>
          <a:noFill/>
          <a:ln>
            <a:noFill/>
          </a:ln>
        </p:spPr>
      </p:pic>
    </p:spTree>
    <p:extLst>
      <p:ext uri="{BB962C8B-B14F-4D97-AF65-F5344CB8AC3E}">
        <p14:creationId xmlns:p14="http://schemas.microsoft.com/office/powerpoint/2010/main" val="1709481630"/>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rgbClr val="404040"/>
                    </a:gs>
                    <a:gs pos="100000">
                      <a:srgbClr val="404040"/>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9232" y="3147122"/>
            <a:ext cx="3291840" cy="701671"/>
          </a:xfrm>
          <a:prstGeom prst="rect">
            <a:avLst/>
          </a:prstGeom>
        </p:spPr>
      </p:pic>
    </p:spTree>
    <p:extLst>
      <p:ext uri="{BB962C8B-B14F-4D97-AF65-F5344CB8AC3E}">
        <p14:creationId xmlns:p14="http://schemas.microsoft.com/office/powerpoint/2010/main" val="1430116634"/>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74638" y="2307518"/>
            <a:ext cx="1563194" cy="323299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a:t>Click icon to add picture</a:t>
            </a:r>
            <a:endParaRPr lang="en-US" dirty="0"/>
          </a:p>
        </p:txBody>
      </p:sp>
      <p:sp>
        <p:nvSpPr>
          <p:cNvPr id="8" name="Picture Placeholder 12"/>
          <p:cNvSpPr>
            <a:spLocks noGrp="1"/>
          </p:cNvSpPr>
          <p:nvPr>
            <p:ph type="pic" sz="quarter" idx="18"/>
          </p:nvPr>
        </p:nvSpPr>
        <p:spPr>
          <a:xfrm>
            <a:off x="4745014" y="2301239"/>
            <a:ext cx="3232905" cy="3245549"/>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600"/>
            </a:lvl1pPr>
          </a:lstStyle>
          <a:p>
            <a:r>
              <a:rPr lang="en-US"/>
              <a:t>Click icon to add picture</a:t>
            </a:r>
            <a:endParaRPr lang="en-US" dirty="0"/>
          </a:p>
        </p:txBody>
      </p:sp>
      <p:sp>
        <p:nvSpPr>
          <p:cNvPr id="9" name="Picture Placeholder 12"/>
          <p:cNvSpPr>
            <a:spLocks noGrp="1"/>
          </p:cNvSpPr>
          <p:nvPr>
            <p:ph type="pic" sz="quarter" idx="19"/>
          </p:nvPr>
        </p:nvSpPr>
        <p:spPr>
          <a:xfrm>
            <a:off x="8258122" y="2302035"/>
            <a:ext cx="3903716" cy="324396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600"/>
            </a:lvl1pPr>
          </a:lstStyle>
          <a:p>
            <a:r>
              <a:rPr lang="en-US"/>
              <a:t>Click icon to add picture</a:t>
            </a:r>
            <a:endParaRPr lang="en-US" dirty="0"/>
          </a:p>
        </p:txBody>
      </p:sp>
      <p:sp>
        <p:nvSpPr>
          <p:cNvPr id="10" name="Picture Placeholder 12"/>
          <p:cNvSpPr>
            <a:spLocks noGrp="1"/>
          </p:cNvSpPr>
          <p:nvPr>
            <p:ph type="pic" sz="quarter" idx="20"/>
          </p:nvPr>
        </p:nvSpPr>
        <p:spPr>
          <a:xfrm>
            <a:off x="2118039" y="2301050"/>
            <a:ext cx="2346769" cy="3245927"/>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a:t>Click icon to add picture</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3274648648"/>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1931893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279185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Colored Non-Bulleted Content">
    <p:bg>
      <p:bgPr>
        <a:solidFill>
          <a:schemeClr val="bg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11659197" y="6606832"/>
            <a:ext cx="777278" cy="387693"/>
          </a:xfrm>
          <a:prstGeom prst="rect">
            <a:avLst/>
          </a:prstGeom>
        </p:spPr>
        <p:txBody>
          <a:bodyPr/>
          <a:lstStyle/>
          <a:p>
            <a:fld id="{4CED8391-71CF-4FD3-A093-40D26DE2D47C}" type="slidenum">
              <a:rPr lang="en-US" smtClean="0">
                <a:solidFill>
                  <a:srgbClr val="00188F"/>
                </a:solidFill>
              </a:rPr>
              <a:pPr/>
              <a:t>‹#›</a:t>
            </a:fld>
            <a:endParaRPr lang="en-US">
              <a:solidFill>
                <a:srgbClr val="00188F"/>
              </a:solidFill>
            </a:endParaRPr>
          </a:p>
        </p:txBody>
      </p:sp>
      <p:sp>
        <p:nvSpPr>
          <p:cNvPr id="4" name="Title 3"/>
          <p:cNvSpPr>
            <a:spLocks noGrp="1"/>
          </p:cNvSpPr>
          <p:nvPr>
            <p:ph type="title"/>
          </p:nvPr>
        </p:nvSpPr>
        <p:spPr/>
        <p:txBody>
          <a:bodyPr/>
          <a:lstStyle/>
          <a:p>
            <a:r>
              <a:rPr lang="en-US" dirty="0"/>
              <a:t>Click to edit Master title style</a:t>
            </a:r>
          </a:p>
        </p:txBody>
      </p:sp>
      <p:sp>
        <p:nvSpPr>
          <p:cNvPr id="7" name="Text Placeholder 6"/>
          <p:cNvSpPr>
            <a:spLocks noGrp="1"/>
          </p:cNvSpPr>
          <p:nvPr>
            <p:ph type="body" sz="quarter" idx="12"/>
          </p:nvPr>
        </p:nvSpPr>
        <p:spPr>
          <a:xfrm>
            <a:off x="391878" y="1204613"/>
            <a:ext cx="11460018" cy="366726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44069530"/>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Title Slide - Color">
    <p:bg>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9" name="Title 1"/>
          <p:cNvSpPr>
            <a:spLocks noGrp="1"/>
          </p:cNvSpPr>
          <p:nvPr>
            <p:ph type="title" hasCustomPrompt="1"/>
          </p:nvPr>
        </p:nvSpPr>
        <p:spPr>
          <a:xfrm>
            <a:off x="274702" y="2125677"/>
            <a:ext cx="9143936" cy="1828786"/>
          </a:xfrm>
          <a:noFill/>
        </p:spPr>
        <p:txBody>
          <a:bodyPr lIns="146304" tIns="91440" rIns="146304" bIns="91440" anchor="t" anchorCtr="0"/>
          <a:lstStyle>
            <a:lvl1pPr>
              <a:defRPr sz="5399" spc="-100" baseline="0">
                <a:gradFill>
                  <a:gsLst>
                    <a:gs pos="99115">
                      <a:schemeClr val="tx1"/>
                    </a:gs>
                    <a:gs pos="79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2" y="3955785"/>
            <a:ext cx="7315137" cy="1828007"/>
          </a:xfrm>
          <a:noFill/>
        </p:spPr>
        <p:txBody>
          <a:bodyPr lIns="146304" tIns="109728" rIns="146304" bIns="109728">
            <a:noAutofit/>
          </a:bodyPr>
          <a:lstStyle>
            <a:lvl1pPr marL="0" indent="0">
              <a:spcBef>
                <a:spcPts val="0"/>
              </a:spcBef>
              <a:buNone/>
              <a:defRPr sz="3200" spc="0" baseline="0">
                <a:gradFill>
                  <a:gsLst>
                    <a:gs pos="99115">
                      <a:schemeClr val="tx1"/>
                    </a:gs>
                    <a:gs pos="79000">
                      <a:schemeClr val="tx1"/>
                    </a:gs>
                  </a:gsLst>
                  <a:lin ang="5400000" scaled="0"/>
                </a:gradFill>
                <a:latin typeface="+mj-lt"/>
              </a:defRPr>
            </a:lvl1pPr>
          </a:lstStyle>
          <a:p>
            <a:pPr lvl="0"/>
            <a:r>
              <a:rPr lang="en-US" dirty="0"/>
              <a:t>Speaker Name</a:t>
            </a:r>
          </a:p>
        </p:txBody>
      </p:sp>
      <p:sp>
        <p:nvSpPr>
          <p:cNvPr id="7" name="Rectangle 6"/>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Tree>
    <p:extLst>
      <p:ext uri="{BB962C8B-B14F-4D97-AF65-F5344CB8AC3E}">
        <p14:creationId xmlns:p14="http://schemas.microsoft.com/office/powerpoint/2010/main" val="8793215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92881"/>
          </a:xfrm>
        </p:spPr>
        <p:txBody>
          <a:bodyPr>
            <a:spAutoFit/>
          </a:bodyPr>
          <a:lstStyle>
            <a:lvl1pPr>
              <a:buClr>
                <a:schemeClr val="tx2"/>
              </a:buClr>
              <a:defRPr sz="4000">
                <a:gradFill>
                  <a:gsLst>
                    <a:gs pos="7080">
                      <a:schemeClr val="tx2"/>
                    </a:gs>
                    <a:gs pos="36283">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03268474"/>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Dem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9" y="2136776"/>
            <a:ext cx="10056812" cy="1181862"/>
          </a:xfrm>
          <a:noFill/>
        </p:spPr>
        <p:txBody>
          <a:bodyPr tIns="91440" bIns="91440" anchor="t" anchorCtr="0">
            <a:spAutoFit/>
          </a:bodyPr>
          <a:lstStyle>
            <a:lvl1pPr>
              <a:defRPr sz="7199"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4881266"/>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6" name="Rectangle 5"/>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Tree>
    <p:extLst>
      <p:ext uri="{BB962C8B-B14F-4D97-AF65-F5344CB8AC3E}">
        <p14:creationId xmlns:p14="http://schemas.microsoft.com/office/powerpoint/2010/main" val="10506503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2"/>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74703" y="2117165"/>
            <a:ext cx="11887135" cy="1837298"/>
          </a:xfrm>
          <a:noFill/>
        </p:spPr>
        <p:txBody>
          <a:bodyPr lIns="146304" tIns="91440" rIns="146304" bIns="91440" anchor="t" anchorCtr="0"/>
          <a:lstStyle>
            <a:lvl1pPr>
              <a:defRPr sz="5399" spc="-100" baseline="0">
                <a:gradFill>
                  <a:gsLst>
                    <a:gs pos="3333">
                      <a:schemeClr val="tx1"/>
                    </a:gs>
                    <a:gs pos="39000">
                      <a:schemeClr val="tx1"/>
                    </a:gs>
                  </a:gsLst>
                  <a:lin ang="5400000" scaled="0"/>
                </a:gradFill>
              </a:defRPr>
            </a:lvl1pPr>
          </a:lstStyle>
          <a:p>
            <a:r>
              <a:rPr lang="en-US" dirty="0"/>
              <a:t>Presentation title</a:t>
            </a:r>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10129838" y="6126162"/>
            <a:ext cx="1849602" cy="394827"/>
          </a:xfrm>
          <a:prstGeom prst="rect">
            <a:avLst/>
          </a:prstGeom>
          <a:noFill/>
          <a:ln>
            <a:noFill/>
          </a:ln>
        </p:spPr>
      </p:pic>
      <p:sp>
        <p:nvSpPr>
          <p:cNvPr id="3" name="Text Placeholder 2"/>
          <p:cNvSpPr>
            <a:spLocks noGrp="1"/>
          </p:cNvSpPr>
          <p:nvPr>
            <p:ph type="body" sz="quarter" idx="13" hasCustomPrompt="1"/>
          </p:nvPr>
        </p:nvSpPr>
        <p:spPr>
          <a:xfrm>
            <a:off x="274703" y="307622"/>
            <a:ext cx="3656013" cy="578303"/>
          </a:xfrm>
        </p:spPr>
        <p:txBody>
          <a:bodyPr lIns="182880" tIns="146304" rIns="182880" bIns="146304"/>
          <a:lstStyle>
            <a:lvl1pPr marL="0" indent="0">
              <a:buNone/>
              <a:defRPr sz="2000">
                <a:latin typeface="+mn-lt"/>
              </a:defRPr>
            </a:lvl1pPr>
            <a:lvl2pPr marL="342834" indent="0">
              <a:buNone/>
              <a:defRPr sz="2000"/>
            </a:lvl2pPr>
            <a:lvl3pPr marL="571390" indent="0">
              <a:buNone/>
              <a:defRPr sz="2000"/>
            </a:lvl3pPr>
            <a:lvl4pPr marL="799946" indent="0">
              <a:buNone/>
              <a:defRPr sz="2000"/>
            </a:lvl4pPr>
            <a:lvl5pPr marL="1028503" indent="0">
              <a:buNone/>
              <a:defRPr sz="2000"/>
            </a:lvl5pPr>
          </a:lstStyle>
          <a:p>
            <a:pPr lvl="0"/>
            <a:r>
              <a:rPr lang="en-US" dirty="0"/>
              <a:t>Session Code Here</a:t>
            </a:r>
          </a:p>
        </p:txBody>
      </p:sp>
    </p:spTree>
    <p:extLst>
      <p:ext uri="{BB962C8B-B14F-4D97-AF65-F5344CB8AC3E}">
        <p14:creationId xmlns:p14="http://schemas.microsoft.com/office/powerpoint/2010/main" val="361950771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2"/>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74703" y="2117165"/>
            <a:ext cx="11887135" cy="1837298"/>
          </a:xfrm>
          <a:noFill/>
        </p:spPr>
        <p:txBody>
          <a:bodyPr lIns="146304" tIns="91440" rIns="146304" bIns="91440" anchor="t" anchorCtr="0"/>
          <a:lstStyle>
            <a:lvl1pPr>
              <a:defRPr sz="5399" spc="-100" baseline="0">
                <a:gradFill>
                  <a:gsLst>
                    <a:gs pos="3333">
                      <a:schemeClr val="tx1"/>
                    </a:gs>
                    <a:gs pos="39000">
                      <a:schemeClr val="tx1"/>
                    </a:gs>
                  </a:gsLst>
                  <a:lin ang="5400000" scaled="0"/>
                </a:gradFill>
              </a:defRPr>
            </a:lvl1pPr>
          </a:lstStyle>
          <a:p>
            <a:r>
              <a:rPr lang="en-US" dirty="0"/>
              <a:t>Presentation title</a:t>
            </a:r>
          </a:p>
        </p:txBody>
      </p:sp>
      <p:sp>
        <p:nvSpPr>
          <p:cNvPr id="4" name="Freeform 3"/>
          <p:cNvSpPr>
            <a:spLocks noChangeAspect="1" noEditPoints="1"/>
          </p:cNvSpPr>
          <p:nvPr userDrawn="1"/>
        </p:nvSpPr>
        <p:spPr bwMode="black">
          <a:xfrm>
            <a:off x="10332994" y="6103269"/>
            <a:ext cx="1639861" cy="411480"/>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91427" tIns="45713" rIns="91427" bIns="45713" numCol="1" anchor="t" anchorCtr="0" compatLnSpc="1">
            <a:prstTxWarp prst="textNoShape">
              <a:avLst/>
            </a:prstTxWarp>
          </a:bodyPr>
          <a:lstStyle/>
          <a:p>
            <a:pPr defTabSz="932563"/>
            <a:endParaRPr lang="en-US" sz="1800">
              <a:solidFill>
                <a:srgbClr val="404040"/>
              </a:solidFill>
            </a:endParaRPr>
          </a:p>
        </p:txBody>
      </p:sp>
      <p:sp>
        <p:nvSpPr>
          <p:cNvPr id="6" name="Text Placeholder 2"/>
          <p:cNvSpPr>
            <a:spLocks noGrp="1"/>
          </p:cNvSpPr>
          <p:nvPr>
            <p:ph type="body" sz="quarter" idx="13" hasCustomPrompt="1"/>
          </p:nvPr>
        </p:nvSpPr>
        <p:spPr>
          <a:xfrm>
            <a:off x="274703" y="307622"/>
            <a:ext cx="3656013" cy="578303"/>
          </a:xfrm>
        </p:spPr>
        <p:txBody>
          <a:bodyPr lIns="182880" tIns="146304" rIns="182880" bIns="146304"/>
          <a:lstStyle>
            <a:lvl1pPr marL="0" indent="0">
              <a:buNone/>
              <a:defRPr sz="2000">
                <a:latin typeface="+mn-lt"/>
              </a:defRPr>
            </a:lvl1pPr>
            <a:lvl2pPr marL="342834" indent="0">
              <a:buNone/>
              <a:defRPr sz="2000"/>
            </a:lvl2pPr>
            <a:lvl3pPr marL="571390" indent="0">
              <a:buNone/>
              <a:defRPr sz="2000"/>
            </a:lvl3pPr>
            <a:lvl4pPr marL="799946" indent="0">
              <a:buNone/>
              <a:defRPr sz="2000"/>
            </a:lvl4pPr>
            <a:lvl5pPr marL="1028503" indent="0">
              <a:buNone/>
              <a:defRPr sz="2000"/>
            </a:lvl5pPr>
          </a:lstStyle>
          <a:p>
            <a:pPr lvl="0"/>
            <a:r>
              <a:rPr lang="en-US" dirty="0"/>
              <a:t>Session Code Here</a:t>
            </a:r>
          </a:p>
        </p:txBody>
      </p:sp>
    </p:spTree>
    <p:extLst>
      <p:ext uri="{BB962C8B-B14F-4D97-AF65-F5344CB8AC3E}">
        <p14:creationId xmlns:p14="http://schemas.microsoft.com/office/powerpoint/2010/main" val="53464775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99485301"/>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228302"/>
          </a:xfrm>
        </p:spPr>
        <p:txBody>
          <a:bodyPr>
            <a:spAutoFit/>
          </a:bodyPr>
          <a:lstStyle>
            <a:lvl1pPr marL="0" indent="0">
              <a:spcBef>
                <a:spcPts val="1800"/>
              </a:spcBef>
              <a:buNone/>
              <a:defRPr/>
            </a:lvl1pPr>
            <a:lvl2pPr marL="0" indent="0">
              <a:buNone/>
              <a:defRPr>
                <a:solidFill>
                  <a:schemeClr val="accent2">
                    <a:lumMod val="75000"/>
                  </a:schemeClr>
                </a:solidFill>
              </a:defRPr>
            </a:lvl2pPr>
            <a:lvl3pPr marL="0" indent="0">
              <a:buNone/>
              <a:defRPr sz="2400"/>
            </a:lvl3pPr>
            <a:lvl4pPr marL="0" indent="0">
              <a:buNone/>
              <a:defRPr sz="2000"/>
            </a:lvl4pPr>
            <a:lvl5pPr marL="0" indent="0">
              <a:buNone/>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13814458"/>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83629" y="1668463"/>
            <a:ext cx="8778210" cy="5029200"/>
          </a:xfrm>
        </p:spPr>
        <p:txBody>
          <a:bodyPr wrap="square">
            <a:no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83148" y="1668463"/>
            <a:ext cx="2743200" cy="5029200"/>
          </a:xfrm>
        </p:spPr>
        <p:txBody>
          <a:bodyPr>
            <a:noAutofit/>
          </a:bodyPr>
          <a:lstStyle>
            <a:lvl1pPr marL="0" indent="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3991" rtl="0" eaLnBrk="1" fontAlgn="auto" latinLnBrk="0" hangingPunct="1">
              <a:lnSpc>
                <a:spcPct val="100000"/>
              </a:lnSpc>
              <a:spcBef>
                <a:spcPct val="0"/>
              </a:spcBef>
              <a:spcAft>
                <a:spcPts val="0"/>
              </a:spcAft>
              <a:buClrTx/>
              <a:buSzTx/>
              <a:tabLst/>
              <a:defRPr/>
            </a:pPr>
            <a:r>
              <a:rPr lang="en-US"/>
              <a:t>Click to edit Master text styles</a:t>
            </a:r>
          </a:p>
        </p:txBody>
      </p:sp>
    </p:spTree>
    <p:extLst>
      <p:ext uri="{BB962C8B-B14F-4D97-AF65-F5344CB8AC3E}">
        <p14:creationId xmlns:p14="http://schemas.microsoft.com/office/powerpoint/2010/main" val="1616065431"/>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7589838" y="1668463"/>
            <a:ext cx="4572000" cy="5029200"/>
          </a:xfrm>
        </p:spPr>
        <p:txBody>
          <a:bodyPr wrap="square">
            <a:noAutofit/>
          </a:bodyPr>
          <a:lstStyle>
            <a:lvl3pPr>
              <a:defRPr sz="24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a:xfrm>
            <a:off x="7590515" y="295275"/>
            <a:ext cx="4573689" cy="917575"/>
          </a:xfrm>
        </p:spPr>
        <p:txBody>
          <a:bodyPr/>
          <a:lstStyle/>
          <a:p>
            <a:r>
              <a:rPr lang="en-US" dirty="0"/>
              <a:t>Click to edit Master title</a:t>
            </a:r>
          </a:p>
        </p:txBody>
      </p:sp>
    </p:spTree>
    <p:extLst>
      <p:ext uri="{BB962C8B-B14F-4D97-AF65-F5344CB8AC3E}">
        <p14:creationId xmlns:p14="http://schemas.microsoft.com/office/powerpoint/2010/main" val="4240076816"/>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761038" y="1668463"/>
            <a:ext cx="6400800" cy="5029200"/>
          </a:xfrm>
        </p:spPr>
        <p:txBody>
          <a:bodyPr wrap="square">
            <a:noAutofit/>
          </a:bodyPr>
          <a:lstStyle>
            <a:lvl1pPr marL="0" indent="0">
              <a:buNone/>
              <a:defRPr/>
            </a:lvl1pPr>
            <a:lvl2pPr marL="0" indent="0">
              <a:buNone/>
              <a:defRPr/>
            </a:lvl2pPr>
            <a:lvl3pPr marL="0" indent="0">
              <a:buNone/>
              <a:defRPr sz="2400"/>
            </a:lvl3pPr>
            <a:lvl4pPr marL="0" indent="0">
              <a:buNone/>
              <a:defRPr sz="2000"/>
            </a:lvl4pPr>
            <a:lvl5pPr marL="0" indent="0">
              <a:buNone/>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a:xfrm>
            <a:off x="5761039" y="295275"/>
            <a:ext cx="6403165" cy="917575"/>
          </a:xfrm>
        </p:spPr>
        <p:txBody>
          <a:bodyPr/>
          <a:lstStyle/>
          <a:p>
            <a:r>
              <a:rPr lang="en-US" dirty="0"/>
              <a:t>Click to edit Master title</a:t>
            </a:r>
          </a:p>
        </p:txBody>
      </p:sp>
    </p:spTree>
    <p:extLst>
      <p:ext uri="{BB962C8B-B14F-4D97-AF65-F5344CB8AC3E}">
        <p14:creationId xmlns:p14="http://schemas.microsoft.com/office/powerpoint/2010/main" val="994664962"/>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3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761038" y="1668463"/>
            <a:ext cx="6400800" cy="5029200"/>
          </a:xfrm>
        </p:spPr>
        <p:txBody>
          <a:bodyPr wrap="square">
            <a:noAutofit/>
          </a:bodyPr>
          <a:lstStyle>
            <a:lvl1pPr marL="0" indent="0">
              <a:buNone/>
              <a:defRPr/>
            </a:lvl1pPr>
            <a:lvl2pPr marL="0" indent="0">
              <a:buNone/>
              <a:defRPr/>
            </a:lvl2pPr>
            <a:lvl3pPr marL="0" indent="0">
              <a:buNone/>
              <a:defRPr sz="2400"/>
            </a:lvl3pPr>
            <a:lvl4pPr marL="0" indent="0">
              <a:buNone/>
              <a:defRPr sz="2000"/>
            </a:lvl4pPr>
            <a:lvl5pPr marL="0" indent="0">
              <a:buNone/>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1360351"/>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89038" y="2125664"/>
            <a:ext cx="10058399" cy="1828800"/>
          </a:xfrm>
        </p:spPr>
        <p:txBody>
          <a:bodyPr/>
          <a:lstStyle>
            <a:lvl1pPr>
              <a:defRPr sz="4799" baseline="0"/>
            </a:lvl1pPr>
          </a:lstStyle>
          <a:p>
            <a:r>
              <a:rPr lang="en-US"/>
              <a:t>Click to edit Master title style</a:t>
            </a:r>
            <a:endParaRPr lang="en-US" dirty="0"/>
          </a:p>
        </p:txBody>
      </p:sp>
    </p:spTree>
    <p:extLst>
      <p:ext uri="{BB962C8B-B14F-4D97-AF65-F5344CB8AC3E}">
        <p14:creationId xmlns:p14="http://schemas.microsoft.com/office/powerpoint/2010/main" val="231441545"/>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92881"/>
          </a:xfrm>
        </p:spPr>
        <p:txBody>
          <a:bodyPr>
            <a:spAutoFit/>
          </a:bodyPr>
          <a:lstStyle>
            <a:lvl1pPr>
              <a:defRPr sz="40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131149"/>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hasCustomPrompt="1"/>
          </p:nvPr>
        </p:nvSpPr>
        <p:spPr>
          <a:xfrm>
            <a:off x="283148" y="1668463"/>
            <a:ext cx="2743200" cy="5029200"/>
          </a:xfrm>
        </p:spPr>
        <p:txBody>
          <a:bodyPr>
            <a:noAutofit/>
          </a:bodyPr>
          <a:lstStyle>
            <a:lvl1pPr marL="342834" indent="-342834">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3991" rtl="0" eaLnBrk="1" fontAlgn="auto" latinLnBrk="0" hangingPunct="1">
              <a:lnSpc>
                <a:spcPct val="100000"/>
              </a:lnSpc>
              <a:spcBef>
                <a:spcPct val="0"/>
              </a:spcBef>
              <a:spcAft>
                <a:spcPts val="0"/>
              </a:spcAft>
              <a:buClrTx/>
              <a:buSzTx/>
              <a:tabLst/>
              <a:defRPr/>
            </a:pPr>
            <a:r>
              <a:rPr lang="en-US" dirty="0"/>
              <a:t>Click to edit</a:t>
            </a:r>
            <a:br>
              <a:rPr lang="en-US" dirty="0"/>
            </a:br>
            <a:r>
              <a:rPr lang="en-US" dirty="0"/>
              <a:t>Master text styles</a:t>
            </a:r>
          </a:p>
        </p:txBody>
      </p:sp>
    </p:spTree>
    <p:extLst>
      <p:ext uri="{BB962C8B-B14F-4D97-AF65-F5344CB8AC3E}">
        <p14:creationId xmlns:p14="http://schemas.microsoft.com/office/powerpoint/2010/main" val="2044340438"/>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9" y="3040063"/>
            <a:ext cx="7315203" cy="914400"/>
          </a:xfrm>
        </p:spPr>
        <p:txBody>
          <a:bodyPr wrap="square" lIns="182880" tIns="146304" rIns="182880" bIns="146304" anchor="ctr">
            <a:noAutofit/>
          </a:bodyPr>
          <a:lstStyle>
            <a:lvl1pPr marL="0" indent="0">
              <a:lnSpc>
                <a:spcPct val="95000"/>
              </a:lnSpc>
              <a:spcBef>
                <a:spcPts val="0"/>
              </a:spcBef>
              <a:spcAft>
                <a:spcPts val="1632"/>
              </a:spcAft>
              <a:buNone/>
              <a:defRPr lang="en-US" sz="3599"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16"/>
              </a:spcBef>
              <a:defRPr sz="1900">
                <a:solidFill>
                  <a:srgbClr val="FFFFFF"/>
                </a:solidFill>
              </a:defRPr>
            </a:lvl2pPr>
            <a:lvl3pPr>
              <a:lnSpc>
                <a:spcPct val="100000"/>
              </a:lnSpc>
              <a:spcBef>
                <a:spcPts val="816"/>
              </a:spcBef>
              <a:defRPr sz="1900">
                <a:solidFill>
                  <a:srgbClr val="FFFFFF"/>
                </a:solidFill>
              </a:defRPr>
            </a:lvl3pPr>
            <a:lvl4pPr>
              <a:lnSpc>
                <a:spcPct val="100000"/>
              </a:lnSpc>
              <a:spcBef>
                <a:spcPts val="816"/>
              </a:spcBef>
              <a:defRPr sz="1900">
                <a:solidFill>
                  <a:srgbClr val="FFFFFF"/>
                </a:solidFill>
              </a:defRPr>
            </a:lvl4pPr>
            <a:lvl5pPr>
              <a:lnSpc>
                <a:spcPct val="100000"/>
              </a:lnSpc>
              <a:spcBef>
                <a:spcPts val="816"/>
              </a:spcBef>
              <a:defRPr sz="1900">
                <a:solidFill>
                  <a:srgbClr val="FFFFFF"/>
                </a:solidFill>
              </a:defRPr>
            </a:lvl5pPr>
          </a:lstStyle>
          <a:p>
            <a:pPr marL="0" lvl="0" indent="0" algn="l" defTabSz="913991" rtl="0" eaLnBrk="1" latinLnBrk="0" hangingPunct="1">
              <a:spcBef>
                <a:spcPct val="20000"/>
              </a:spcBef>
            </a:pPr>
            <a:r>
              <a:rPr lang="en-US"/>
              <a:t>Click to edit Master text styles</a:t>
            </a:r>
          </a:p>
        </p:txBody>
      </p:sp>
      <p:sp>
        <p:nvSpPr>
          <p:cNvPr id="15" name="Title 1"/>
          <p:cNvSpPr>
            <a:spLocks noGrp="1"/>
          </p:cNvSpPr>
          <p:nvPr>
            <p:ph type="ctrTitle" hasCustomPrompt="1"/>
          </p:nvPr>
        </p:nvSpPr>
        <p:spPr>
          <a:xfrm>
            <a:off x="274639" y="1537564"/>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99"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028"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2119539253"/>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9" y="3040063"/>
            <a:ext cx="7315203" cy="914400"/>
          </a:xfrm>
        </p:spPr>
        <p:txBody>
          <a:bodyPr vert="horz" wrap="square" lIns="182880" tIns="146304" rIns="182880" bIns="146304" rtlCol="0" anchor="ctr">
            <a:noAutofit/>
          </a:bodyPr>
          <a:lstStyle>
            <a:lvl1pPr marL="0" indent="0">
              <a:buNone/>
              <a:defRPr lang="en-US" sz="3599"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913991" rtl="0" eaLnBrk="1" latinLnBrk="0" hangingPunct="1">
              <a:spcBef>
                <a:spcPct val="20000"/>
              </a:spcBef>
              <a:spcAft>
                <a:spcPts val="1632"/>
              </a:spcAft>
            </a:pPr>
            <a:r>
              <a:rPr lang="en-US"/>
              <a:t>Click to edit Master text styles</a:t>
            </a:r>
          </a:p>
        </p:txBody>
      </p:sp>
      <p:sp>
        <p:nvSpPr>
          <p:cNvPr id="8" name="Title 7"/>
          <p:cNvSpPr>
            <a:spLocks noGrp="1"/>
          </p:cNvSpPr>
          <p:nvPr>
            <p:ph type="title"/>
          </p:nvPr>
        </p:nvSpPr>
        <p:spPr/>
        <p:txBody>
          <a:bodyPr/>
          <a:lstStyle/>
          <a:p>
            <a:r>
              <a:rPr lang="en-US"/>
              <a:t>Click to edit Master title style</a:t>
            </a:r>
          </a:p>
        </p:txBody>
      </p:sp>
      <p:sp>
        <p:nvSpPr>
          <p:cNvPr id="9" name="Picture Placeholder 12"/>
          <p:cNvSpPr>
            <a:spLocks noGrp="1"/>
          </p:cNvSpPr>
          <p:nvPr>
            <p:ph type="pic" sz="quarter" idx="16"/>
          </p:nvPr>
        </p:nvSpPr>
        <p:spPr>
          <a:xfrm>
            <a:off x="274638" y="1535875"/>
            <a:ext cx="3931920" cy="392277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a:solidFill>
            <a:schemeClr val="tx2"/>
          </a:solidFill>
        </p:spPr>
        <p:txBody>
          <a:bodyPr lIns="182880" tIns="146304" rIns="182880" bIns="146304" anchor="ctr" anchorCtr="1">
            <a:noAutofit/>
          </a:bodyPr>
          <a:lstStyle>
            <a:lvl1pPr marL="0" indent="0">
              <a:buNone/>
              <a:defRPr>
                <a:solidFill>
                  <a:schemeClr val="bg1"/>
                </a:solidFill>
              </a:defRPr>
            </a:lvl1pPr>
          </a:lstStyle>
          <a:p>
            <a:r>
              <a:rPr lang="en-US"/>
              <a:t>Click icon to add picture</a:t>
            </a:r>
            <a:endParaRPr lang="en-US" dirty="0"/>
          </a:p>
        </p:txBody>
      </p:sp>
    </p:spTree>
    <p:extLst>
      <p:ext uri="{BB962C8B-B14F-4D97-AF65-F5344CB8AC3E}">
        <p14:creationId xmlns:p14="http://schemas.microsoft.com/office/powerpoint/2010/main" val="648683517"/>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9" y="3040063"/>
            <a:ext cx="7315203" cy="914400"/>
          </a:xfrm>
        </p:spPr>
        <p:txBody>
          <a:bodyPr vert="horz" wrap="square" lIns="182880" tIns="146304" rIns="182880" bIns="146304" rtlCol="0" anchor="ctr">
            <a:noAutofit/>
          </a:bodyPr>
          <a:lstStyle>
            <a:lvl1pPr marL="0" indent="0">
              <a:buFont typeface="Arial" panose="020B0604020202020204" pitchFamily="34" charset="0"/>
              <a:buNone/>
              <a:defRPr lang="en-US" sz="3599" kern="1200" dirty="0" smtClean="0">
                <a:gradFill>
                  <a:gsLst>
                    <a:gs pos="1299">
                      <a:schemeClr val="tx1"/>
                    </a:gs>
                    <a:gs pos="100000">
                      <a:schemeClr val="tx1"/>
                    </a:gs>
                  </a:gsLst>
                  <a:lin ang="5400000" scaled="0"/>
                </a:gradFill>
                <a:latin typeface="+mj-lt"/>
                <a:ea typeface="+mn-ea"/>
                <a:cs typeface="+mn-cs"/>
              </a:defRPr>
            </a:lvl1pPr>
          </a:lstStyle>
          <a:p>
            <a:pPr marL="0" lvl="0" indent="0" algn="l" defTabSz="913991" rtl="0" eaLnBrk="1" latinLnBrk="0" hangingPunct="1">
              <a:spcBef>
                <a:spcPct val="20000"/>
              </a:spcBef>
            </a:pPr>
            <a:r>
              <a:rPr lang="en-US"/>
              <a:t>Click to edit Master text styles</a:t>
            </a:r>
          </a:p>
        </p:txBody>
      </p:sp>
      <p:sp>
        <p:nvSpPr>
          <p:cNvPr id="7" name="Picture Placeholder 12"/>
          <p:cNvSpPr>
            <a:spLocks noGrp="1"/>
          </p:cNvSpPr>
          <p:nvPr>
            <p:ph type="pic" sz="quarter" idx="16"/>
          </p:nvPr>
        </p:nvSpPr>
        <p:spPr>
          <a:xfrm>
            <a:off x="274638" y="1535875"/>
            <a:ext cx="3931920" cy="392277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a:t>Click to edit Master title style</a:t>
            </a:r>
            <a:endParaRPr lang="en-US" dirty="0"/>
          </a:p>
        </p:txBody>
      </p:sp>
    </p:spTree>
    <p:extLst>
      <p:ext uri="{BB962C8B-B14F-4D97-AF65-F5344CB8AC3E}">
        <p14:creationId xmlns:p14="http://schemas.microsoft.com/office/powerpoint/2010/main" val="4007300815"/>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1565332"/>
          </a:xfrm>
        </p:spPr>
        <p:txBody>
          <a:bodyPr>
            <a:spAutoFit/>
          </a:bodyPr>
          <a:lstStyle>
            <a:lvl1pPr>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84088" indent="-241253">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71332" indent="-342834">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2000"/>
            </a:lvl4pPr>
            <a:lvl5pPr>
              <a:defRPr sz="2000"/>
            </a:lvl5pPr>
          </a:lstStyle>
          <a:p>
            <a:pPr marL="0" lvl="0" indent="0" algn="l" defTabSz="913991" rtl="0" eaLnBrk="1" latinLnBrk="0" hangingPunct="1">
              <a:spcBef>
                <a:spcPct val="20000"/>
              </a:spcBef>
              <a:spcAft>
                <a:spcPts val="816"/>
              </a:spcAft>
              <a:buFont typeface="Arial" pitchFamily="34" charset="0"/>
              <a:buNone/>
            </a:pPr>
            <a:r>
              <a:rPr lang="en-US"/>
              <a:t>Click to edit Master text styles</a:t>
            </a:r>
          </a:p>
          <a:p>
            <a:pPr marL="0" lvl="1" indent="0" algn="l" defTabSz="913991" rtl="0" eaLnBrk="1" latinLnBrk="0" hangingPunct="1">
              <a:spcBef>
                <a:spcPct val="20000"/>
              </a:spcBef>
              <a:spcAft>
                <a:spcPts val="816"/>
              </a:spcAft>
              <a:buFont typeface="Arial" pitchFamily="34" charset="0"/>
              <a:buNone/>
            </a:pPr>
            <a:r>
              <a:rPr lang="en-US"/>
              <a:t>Second level</a:t>
            </a:r>
          </a:p>
          <a:p>
            <a:pPr marL="0" lvl="2" indent="0" algn="l" defTabSz="913991" rtl="0" eaLnBrk="1" latinLnBrk="0" hangingPunct="1">
              <a:spcBef>
                <a:spcPct val="20000"/>
              </a:spcBef>
              <a:spcAft>
                <a:spcPts val="816"/>
              </a:spcAft>
              <a:buFont typeface="Arial" pitchFamily="34" charset="0"/>
              <a:buNone/>
            </a:pPr>
            <a:r>
              <a:rPr lang="en-US"/>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8740285"/>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3470941"/>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2137569" y="2473326"/>
            <a:ext cx="8161338" cy="2047875"/>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91427" tIns="45713" rIns="91427" bIns="45713" numCol="1" anchor="t" anchorCtr="0" compatLnSpc="1">
            <a:prstTxWarp prst="textNoShape">
              <a:avLst/>
            </a:prstTxWarp>
          </a:bodyPr>
          <a:lstStyle/>
          <a:p>
            <a:pPr defTabSz="932563"/>
            <a:endParaRPr lang="en-US" sz="1800">
              <a:solidFill>
                <a:srgbClr val="404040"/>
              </a:solidFill>
            </a:endParaRP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10129838" y="6126162"/>
            <a:ext cx="1849602" cy="394827"/>
          </a:xfrm>
          <a:prstGeom prst="rect">
            <a:avLst/>
          </a:prstGeom>
          <a:noFill/>
          <a:ln>
            <a:noFill/>
          </a:ln>
        </p:spPr>
      </p:pic>
    </p:spTree>
    <p:extLst>
      <p:ext uri="{BB962C8B-B14F-4D97-AF65-F5344CB8AC3E}">
        <p14:creationId xmlns:p14="http://schemas.microsoft.com/office/powerpoint/2010/main" val="1337088428"/>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rgbClr val="404040"/>
                    </a:gs>
                    <a:gs pos="100000">
                      <a:srgbClr val="404040"/>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9233" y="3147123"/>
            <a:ext cx="3291840" cy="701671"/>
          </a:xfrm>
          <a:prstGeom prst="rect">
            <a:avLst/>
          </a:prstGeom>
        </p:spPr>
      </p:pic>
    </p:spTree>
    <p:extLst>
      <p:ext uri="{BB962C8B-B14F-4D97-AF65-F5344CB8AC3E}">
        <p14:creationId xmlns:p14="http://schemas.microsoft.com/office/powerpoint/2010/main" val="188062333"/>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74638" y="2307518"/>
            <a:ext cx="1563194" cy="323299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43028" rtl="0" eaLnBrk="1" fontAlgn="base" latinLnBrk="0" hangingPunct="1">
              <a:lnSpc>
                <a:spcPct val="95000"/>
              </a:lnSpc>
              <a:spcBef>
                <a:spcPts val="0"/>
              </a:spcBef>
              <a:spcAft>
                <a:spcPts val="0"/>
              </a:spcAft>
              <a:buClr>
                <a:schemeClr val="accent1"/>
              </a:buClr>
              <a:buSzPct val="110000"/>
              <a:buFont typeface="Avenir LT Pro 45 Book" charset="0"/>
              <a:buNone/>
              <a:tabLst/>
              <a:defRPr sz="1599"/>
            </a:lvl1pPr>
          </a:lstStyle>
          <a:p>
            <a:r>
              <a:rPr lang="en-US"/>
              <a:t>Click icon to add picture</a:t>
            </a:r>
            <a:endParaRPr lang="en-US" dirty="0"/>
          </a:p>
        </p:txBody>
      </p:sp>
      <p:sp>
        <p:nvSpPr>
          <p:cNvPr id="8" name="Picture Placeholder 12"/>
          <p:cNvSpPr>
            <a:spLocks noGrp="1"/>
          </p:cNvSpPr>
          <p:nvPr>
            <p:ph type="pic" sz="quarter" idx="18"/>
          </p:nvPr>
        </p:nvSpPr>
        <p:spPr>
          <a:xfrm>
            <a:off x="4745015" y="2301240"/>
            <a:ext cx="3232905" cy="3245549"/>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599"/>
            </a:lvl1pPr>
          </a:lstStyle>
          <a:p>
            <a:r>
              <a:rPr lang="en-US"/>
              <a:t>Click icon to add picture</a:t>
            </a:r>
            <a:endParaRPr lang="en-US" dirty="0"/>
          </a:p>
        </p:txBody>
      </p:sp>
      <p:sp>
        <p:nvSpPr>
          <p:cNvPr id="9" name="Picture Placeholder 12"/>
          <p:cNvSpPr>
            <a:spLocks noGrp="1"/>
          </p:cNvSpPr>
          <p:nvPr>
            <p:ph type="pic" sz="quarter" idx="19"/>
          </p:nvPr>
        </p:nvSpPr>
        <p:spPr>
          <a:xfrm>
            <a:off x="8258123" y="2302035"/>
            <a:ext cx="3903716" cy="324396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599"/>
            </a:lvl1pPr>
          </a:lstStyle>
          <a:p>
            <a:r>
              <a:rPr lang="en-US"/>
              <a:t>Click icon to add picture</a:t>
            </a:r>
            <a:endParaRPr lang="en-US" dirty="0"/>
          </a:p>
        </p:txBody>
      </p:sp>
      <p:sp>
        <p:nvSpPr>
          <p:cNvPr id="10" name="Picture Placeholder 12"/>
          <p:cNvSpPr>
            <a:spLocks noGrp="1"/>
          </p:cNvSpPr>
          <p:nvPr>
            <p:ph type="pic" sz="quarter" idx="20"/>
          </p:nvPr>
        </p:nvSpPr>
        <p:spPr>
          <a:xfrm>
            <a:off x="2118040" y="2301051"/>
            <a:ext cx="2346769" cy="3245927"/>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43028" rtl="0" eaLnBrk="1" fontAlgn="base" latinLnBrk="0" hangingPunct="1">
              <a:lnSpc>
                <a:spcPct val="95000"/>
              </a:lnSpc>
              <a:spcBef>
                <a:spcPts val="0"/>
              </a:spcBef>
              <a:spcAft>
                <a:spcPts val="0"/>
              </a:spcAft>
              <a:buClr>
                <a:schemeClr val="accent1"/>
              </a:buClr>
              <a:buSzPct val="110000"/>
              <a:buFont typeface="Avenir LT Pro 45 Book" charset="0"/>
              <a:buNone/>
              <a:tabLst/>
              <a:defRPr sz="1599"/>
            </a:lvl1pPr>
          </a:lstStyle>
          <a:p>
            <a:r>
              <a:rPr lang="en-US"/>
              <a:t>Click icon to add picture</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2263908547"/>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5762254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389">
                      <a:schemeClr val="tx2"/>
                    </a:gs>
                    <a:gs pos="31000">
                      <a:schemeClr val="tx2"/>
                    </a:gs>
                  </a:gsLst>
                  <a:lin ang="5400000" scaled="0"/>
                </a:gradFill>
              </a:defRPr>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0"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389">
                      <a:schemeClr val="tx2"/>
                    </a:gs>
                    <a:gs pos="31000">
                      <a:schemeClr val="tx2"/>
                    </a:gs>
                  </a:gsLst>
                  <a:lin ang="5400000" scaled="0"/>
                </a:gradFill>
              </a:defRPr>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7959926"/>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2876556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058862"/>
            <a:ext cx="11887200" cy="572464"/>
          </a:xfrm>
        </p:spPr>
        <p:txBody>
          <a:bodyPr/>
          <a:lstStyle>
            <a:lvl1pPr marL="0" indent="0">
              <a:buNone/>
              <a:defRPr sz="2800">
                <a:solidFill>
                  <a:schemeClr val="tx2"/>
                </a:solidFill>
              </a:defRPr>
            </a:lvl1pPr>
          </a:lstStyle>
          <a:p>
            <a:pPr lvl="0"/>
            <a:r>
              <a:rPr lang="en-US" dirty="0"/>
              <a:t>Click to edit Master text styles</a:t>
            </a:r>
          </a:p>
        </p:txBody>
      </p:sp>
    </p:spTree>
    <p:extLst>
      <p:ext uri="{BB962C8B-B14F-4D97-AF65-F5344CB8AC3E}">
        <p14:creationId xmlns:p14="http://schemas.microsoft.com/office/powerpoint/2010/main" val="3540814395"/>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52845703"/>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hasCustomPrompt="1"/>
          </p:nvPr>
        </p:nvSpPr>
        <p:spPr/>
        <p:txBody>
          <a:bodyPr/>
          <a:lstStyle/>
          <a:p>
            <a:r>
              <a:rPr lang="en-US" dirty="0"/>
              <a:t>Click to edit title</a:t>
            </a:r>
          </a:p>
        </p:txBody>
      </p:sp>
      <p:sp>
        <p:nvSpPr>
          <p:cNvPr id="8" name="Text Placeholder 2"/>
          <p:cNvSpPr>
            <a:spLocks noGrp="1"/>
          </p:cNvSpPr>
          <p:nvPr>
            <p:ph type="body" sz="quarter" idx="13" hasCustomPrompt="1"/>
          </p:nvPr>
        </p:nvSpPr>
        <p:spPr>
          <a:xfrm>
            <a:off x="274211" y="6395264"/>
            <a:ext cx="11888061" cy="301348"/>
          </a:xfrm>
        </p:spPr>
        <p:txBody>
          <a:bodyPr anchor="b" anchorCtr="0">
            <a:spAutoFit/>
          </a:bodyPr>
          <a:lstStyle>
            <a:lvl1pPr>
              <a:spcBef>
                <a:spcPts val="0"/>
              </a:spcBef>
              <a:defRPr sz="816" b="0">
                <a:solidFill>
                  <a:schemeClr val="tx1"/>
                </a:solidFill>
                <a:latin typeface="+mn-lt"/>
              </a:defRPr>
            </a:lvl1pPr>
            <a:lvl2pPr>
              <a:defRPr sz="816" b="0">
                <a:solidFill>
                  <a:schemeClr val="tx1"/>
                </a:solidFill>
              </a:defRPr>
            </a:lvl2pPr>
            <a:lvl3pPr>
              <a:defRPr sz="816" b="0">
                <a:solidFill>
                  <a:schemeClr val="tx1"/>
                </a:solidFill>
              </a:defRPr>
            </a:lvl3pPr>
            <a:lvl4pPr>
              <a:defRPr sz="816" b="0">
                <a:solidFill>
                  <a:schemeClr val="tx1"/>
                </a:solidFill>
              </a:defRPr>
            </a:lvl4pPr>
            <a:lvl5pPr>
              <a:defRPr sz="816" b="0">
                <a:solidFill>
                  <a:schemeClr val="tx1"/>
                </a:solidFill>
              </a:defRPr>
            </a:lvl5pPr>
          </a:lstStyle>
          <a:p>
            <a:pPr lvl="0"/>
            <a:r>
              <a:rPr lang="en-US" dirty="0"/>
              <a:t>Footnote</a:t>
            </a:r>
          </a:p>
        </p:txBody>
      </p:sp>
    </p:spTree>
    <p:extLst>
      <p:ext uri="{BB962C8B-B14F-4D97-AF65-F5344CB8AC3E}">
        <p14:creationId xmlns:p14="http://schemas.microsoft.com/office/powerpoint/2010/main" val="1207618877"/>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20473238"/>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855969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199">
                <a:solidFill>
                  <a:schemeClr val="tx2"/>
                </a:solidFill>
              </a:defRPr>
            </a:lvl1pPr>
          </a:lstStyle>
          <a:p>
            <a:r>
              <a:rPr lang="en-US"/>
              <a:t>Click to edit Master title style</a:t>
            </a:r>
            <a:endParaRPr lang="en-IN" dirty="0"/>
          </a:p>
        </p:txBody>
      </p:sp>
    </p:spTree>
    <p:extLst>
      <p:ext uri="{BB962C8B-B14F-4D97-AF65-F5344CB8AC3E}">
        <p14:creationId xmlns:p14="http://schemas.microsoft.com/office/powerpoint/2010/main" val="187335113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cSld name="PresentationTitle_HEALTHCARE">
    <p:bg>
      <p:bgPr>
        <a:solidFill>
          <a:schemeClr val="bg1"/>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4">
            <a:extLst>
              <a:ext uri="{28A0092B-C50C-407E-A947-70E740481C1C}">
                <a14:useLocalDpi xmlns:a14="http://schemas.microsoft.com/office/drawing/2010/main"/>
              </a:ext>
            </a:extLst>
          </a:blip>
          <a:srcRect l="140" t="13287" r="2103" b="3771"/>
          <a:stretch/>
        </p:blipFill>
        <p:spPr>
          <a:xfrm>
            <a:off x="0" y="0"/>
            <a:ext cx="12466638" cy="7027276"/>
          </a:xfrm>
          <a:prstGeom prst="rect">
            <a:avLst/>
          </a:prstGeom>
        </p:spPr>
      </p:pic>
      <p:graphicFrame>
        <p:nvGraphicFramePr>
          <p:cNvPr id="2" name="Object 1" hidden="1"/>
          <p:cNvGraphicFramePr>
            <a:graphicFrameLocks noChangeAspect="1"/>
          </p:cNvGraphicFramePr>
          <p:nvPr>
            <p:custDataLst>
              <p:tags r:id="rId2"/>
            </p:custDataLs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spid="_x0000_s205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90" y="1590"/>
                        <a:ext cx="1587" cy="1587"/>
                      </a:xfrm>
                      <a:prstGeom prst="rect">
                        <a:avLst/>
                      </a:prstGeom>
                    </p:spPr>
                  </p:pic>
                </p:oleObj>
              </mc:Fallback>
            </mc:AlternateContent>
          </a:graphicData>
        </a:graphic>
      </p:graphicFrame>
      <p:sp>
        <p:nvSpPr>
          <p:cNvPr id="16" name="Title 1"/>
          <p:cNvSpPr>
            <a:spLocks noGrp="1"/>
          </p:cNvSpPr>
          <p:nvPr>
            <p:ph type="ctrTitle" hasCustomPrompt="1"/>
          </p:nvPr>
        </p:nvSpPr>
        <p:spPr>
          <a:xfrm>
            <a:off x="466371" y="2489420"/>
            <a:ext cx="6275733" cy="1356064"/>
          </a:xfrm>
          <a:prstGeom prst="rect">
            <a:avLst/>
          </a:prstGeom>
        </p:spPr>
        <p:txBody>
          <a:bodyPr wrap="square" lIns="143407" tIns="0" rIns="143407" bIns="0">
            <a:spAutoFit/>
          </a:bodyPr>
          <a:lstStyle>
            <a:lvl1pPr>
              <a:lnSpc>
                <a:spcPct val="90000"/>
              </a:lnSpc>
              <a:spcBef>
                <a:spcPts val="0"/>
              </a:spcBef>
              <a:defRPr sz="4896" baseline="0">
                <a:solidFill>
                  <a:schemeClr val="bg1"/>
                </a:solidFill>
              </a:defRPr>
            </a:lvl1pPr>
          </a:lstStyle>
          <a:p>
            <a:r>
              <a:rPr lang="en-US" dirty="0"/>
              <a:t>Headline here, second line here</a:t>
            </a:r>
          </a:p>
        </p:txBody>
      </p:sp>
      <p:sp>
        <p:nvSpPr>
          <p:cNvPr id="17" name="Subtitle 2"/>
          <p:cNvSpPr>
            <a:spLocks noGrp="1"/>
          </p:cNvSpPr>
          <p:nvPr>
            <p:ph type="subTitle" idx="1" hasCustomPrompt="1"/>
          </p:nvPr>
        </p:nvSpPr>
        <p:spPr>
          <a:xfrm>
            <a:off x="466372" y="4994602"/>
            <a:ext cx="6275659" cy="593368"/>
          </a:xfrm>
          <a:prstGeom prst="rect">
            <a:avLst/>
          </a:prstGeom>
        </p:spPr>
        <p:txBody>
          <a:bodyPr lIns="143407" tIns="0" rIns="143407" bIns="0"/>
          <a:lstStyle>
            <a:lvl1pPr marL="0" indent="0" algn="l">
              <a:lnSpc>
                <a:spcPct val="90000"/>
              </a:lnSpc>
              <a:spcBef>
                <a:spcPts val="0"/>
              </a:spcBef>
              <a:buNone/>
              <a:defRPr sz="2142">
                <a:solidFill>
                  <a:schemeClr val="bg1"/>
                </a:solidFill>
                <a:latin typeface="+mn-lt"/>
              </a:defRPr>
            </a:lvl1pPr>
            <a:lvl2pPr marL="456702" indent="0" algn="ctr">
              <a:buNone/>
              <a:defRPr>
                <a:solidFill>
                  <a:schemeClr val="tx1">
                    <a:tint val="75000"/>
                  </a:schemeClr>
                </a:solidFill>
              </a:defRPr>
            </a:lvl2pPr>
            <a:lvl3pPr marL="913406" indent="0" algn="ctr">
              <a:buNone/>
              <a:defRPr>
                <a:solidFill>
                  <a:schemeClr val="tx1">
                    <a:tint val="75000"/>
                  </a:schemeClr>
                </a:solidFill>
              </a:defRPr>
            </a:lvl3pPr>
            <a:lvl4pPr marL="1370108" indent="0" algn="ctr">
              <a:buNone/>
              <a:defRPr>
                <a:solidFill>
                  <a:schemeClr val="tx1">
                    <a:tint val="75000"/>
                  </a:schemeClr>
                </a:solidFill>
              </a:defRPr>
            </a:lvl4pPr>
            <a:lvl5pPr marL="1826814" indent="0" algn="ctr">
              <a:buNone/>
              <a:defRPr>
                <a:solidFill>
                  <a:schemeClr val="tx1">
                    <a:tint val="75000"/>
                  </a:schemeClr>
                </a:solidFill>
              </a:defRPr>
            </a:lvl5pPr>
            <a:lvl6pPr marL="2283515" indent="0" algn="ctr">
              <a:buNone/>
              <a:defRPr>
                <a:solidFill>
                  <a:schemeClr val="tx1">
                    <a:tint val="75000"/>
                  </a:schemeClr>
                </a:solidFill>
              </a:defRPr>
            </a:lvl6pPr>
            <a:lvl7pPr marL="2740219" indent="0" algn="ctr">
              <a:buNone/>
              <a:defRPr>
                <a:solidFill>
                  <a:schemeClr val="tx1">
                    <a:tint val="75000"/>
                  </a:schemeClr>
                </a:solidFill>
              </a:defRPr>
            </a:lvl7pPr>
            <a:lvl8pPr marL="3196921" indent="0" algn="ctr">
              <a:buNone/>
              <a:defRPr>
                <a:solidFill>
                  <a:schemeClr val="tx1">
                    <a:tint val="75000"/>
                  </a:schemeClr>
                </a:solidFill>
              </a:defRPr>
            </a:lvl8pPr>
            <a:lvl9pPr marL="3653624" indent="0" algn="ctr">
              <a:buNone/>
              <a:defRPr>
                <a:solidFill>
                  <a:schemeClr val="tx1">
                    <a:tint val="75000"/>
                  </a:schemeClr>
                </a:solidFill>
              </a:defRPr>
            </a:lvl9pPr>
          </a:lstStyle>
          <a:p>
            <a:r>
              <a:rPr lang="en-US" dirty="0"/>
              <a:t>Speaker Name</a:t>
            </a:r>
            <a:br>
              <a:rPr lang="en-US" dirty="0"/>
            </a:br>
            <a:r>
              <a:rPr lang="en-US" dirty="0"/>
              <a:t>Date</a:t>
            </a:r>
          </a:p>
        </p:txBody>
      </p:sp>
      <p:sp>
        <p:nvSpPr>
          <p:cNvPr id="19" name="Text Placeholder 7"/>
          <p:cNvSpPr>
            <a:spLocks noGrp="1"/>
          </p:cNvSpPr>
          <p:nvPr>
            <p:ph type="body" sz="quarter" idx="10" hasCustomPrompt="1"/>
          </p:nvPr>
        </p:nvSpPr>
        <p:spPr>
          <a:xfrm>
            <a:off x="466758" y="3920818"/>
            <a:ext cx="6292074" cy="881064"/>
          </a:xfrm>
          <a:prstGeom prst="rect">
            <a:avLst/>
          </a:prstGeom>
        </p:spPr>
        <p:txBody>
          <a:bodyPr lIns="143407" tIns="0" rIns="143407" bIns="0">
            <a:normAutofit/>
          </a:bodyPr>
          <a:lstStyle>
            <a:lvl1pPr marL="0" indent="0">
              <a:lnSpc>
                <a:spcPct val="90000"/>
              </a:lnSpc>
              <a:spcBef>
                <a:spcPts val="0"/>
              </a:spcBef>
              <a:buNone/>
              <a:defRPr sz="2040" baseline="0">
                <a:solidFill>
                  <a:schemeClr val="bg1"/>
                </a:solidFill>
                <a:latin typeface="+mn-lt"/>
              </a:defRPr>
            </a:lvl1pPr>
            <a:lvl2pPr marL="342528" indent="0">
              <a:buNone/>
              <a:defRPr sz="1632">
                <a:solidFill>
                  <a:schemeClr val="bg1"/>
                </a:solidFill>
                <a:latin typeface="+mj-lt"/>
              </a:defRPr>
            </a:lvl2pPr>
            <a:lvl3pPr marL="570880" indent="0">
              <a:buNone/>
              <a:defRPr sz="1326">
                <a:solidFill>
                  <a:schemeClr val="bg1"/>
                </a:solidFill>
                <a:latin typeface="+mj-lt"/>
              </a:defRPr>
            </a:lvl3pPr>
            <a:lvl4pPr marL="799229" indent="0">
              <a:buNone/>
              <a:defRPr sz="1224">
                <a:solidFill>
                  <a:schemeClr val="bg1"/>
                </a:solidFill>
                <a:latin typeface="+mj-lt"/>
              </a:defRPr>
            </a:lvl4pPr>
            <a:lvl5pPr marL="1027583" indent="0">
              <a:buNone/>
              <a:defRPr sz="1224">
                <a:solidFill>
                  <a:schemeClr val="bg1"/>
                </a:solidFill>
                <a:latin typeface="+mj-lt"/>
              </a:defRPr>
            </a:lvl5pPr>
          </a:lstStyle>
          <a:p>
            <a:pPr lvl="0"/>
            <a:r>
              <a:rPr lang="en-US" dirty="0"/>
              <a:t>Sub header here</a:t>
            </a:r>
          </a:p>
        </p:txBody>
      </p:sp>
      <p:pic>
        <p:nvPicPr>
          <p:cNvPr id="20" name="Picture 19"/>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0780059" y="6530041"/>
            <a:ext cx="1304123" cy="285765"/>
          </a:xfrm>
          <a:prstGeom prst="rect">
            <a:avLst/>
          </a:prstGeom>
        </p:spPr>
      </p:pic>
    </p:spTree>
    <p:extLst>
      <p:ext uri="{BB962C8B-B14F-4D97-AF65-F5344CB8AC3E}">
        <p14:creationId xmlns:p14="http://schemas.microsoft.com/office/powerpoint/2010/main" val="34523380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Colored Non-Bulleted Content">
    <p:bg>
      <p:bgPr>
        <a:solidFill>
          <a:schemeClr val="bg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11739605" y="6673146"/>
            <a:ext cx="501211" cy="372394"/>
          </a:xfrm>
          <a:prstGeom prst="rect">
            <a:avLst/>
          </a:prstGeom>
        </p:spPr>
        <p:txBody>
          <a:bodyPr/>
          <a:lstStyle/>
          <a:p>
            <a:pPr defTabSz="932563"/>
            <a:fld id="{4CED8391-71CF-4FD3-A093-40D26DE2D47C}" type="slidenum">
              <a:rPr lang="en-US" smtClean="0">
                <a:solidFill>
                  <a:srgbClr val="00188F"/>
                </a:solidFill>
              </a:rPr>
              <a:pPr defTabSz="932563"/>
              <a:t>‹#›</a:t>
            </a:fld>
            <a:endParaRPr lang="en-US">
              <a:solidFill>
                <a:srgbClr val="00188F"/>
              </a:solidFill>
            </a:endParaRPr>
          </a:p>
        </p:txBody>
      </p:sp>
      <p:sp>
        <p:nvSpPr>
          <p:cNvPr id="4" name="Title 3"/>
          <p:cNvSpPr>
            <a:spLocks noGrp="1"/>
          </p:cNvSpPr>
          <p:nvPr>
            <p:ph type="title"/>
          </p:nvPr>
        </p:nvSpPr>
        <p:spPr/>
        <p:txBody>
          <a:bodyPr/>
          <a:lstStyle/>
          <a:p>
            <a:r>
              <a:rPr lang="en-US" dirty="0"/>
              <a:t>Click to edit Master title style</a:t>
            </a:r>
          </a:p>
        </p:txBody>
      </p:sp>
      <p:sp>
        <p:nvSpPr>
          <p:cNvPr id="7" name="Text Placeholder 6"/>
          <p:cNvSpPr>
            <a:spLocks noGrp="1"/>
          </p:cNvSpPr>
          <p:nvPr>
            <p:ph type="body" sz="quarter" idx="12"/>
          </p:nvPr>
        </p:nvSpPr>
        <p:spPr>
          <a:xfrm>
            <a:off x="391878" y="1204614"/>
            <a:ext cx="11460018" cy="209622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91709857"/>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a:xfrm>
            <a:off x="11659197" y="6606832"/>
            <a:ext cx="777278" cy="387693"/>
          </a:xfrm>
          <a:prstGeom prst="rect">
            <a:avLst/>
          </a:prstGeom>
        </p:spPr>
        <p:txBody>
          <a:bodyPr/>
          <a:lstStyle/>
          <a:p>
            <a:fld id="{4CED8391-71CF-4FD3-A093-40D26DE2D47C}" type="slidenum">
              <a:rPr lang="en-US" smtClean="0">
                <a:solidFill>
                  <a:srgbClr val="00188F"/>
                </a:solidFill>
              </a:rPr>
              <a:pPr/>
              <a:t>‹#›</a:t>
            </a:fld>
            <a:endParaRPr lang="en-US">
              <a:solidFill>
                <a:srgbClr val="00188F"/>
              </a:solidFill>
            </a:endParaRPr>
          </a:p>
        </p:txBody>
      </p:sp>
      <p:sp>
        <p:nvSpPr>
          <p:cNvPr id="4" name="Title 3"/>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37985776"/>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0"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46586672"/>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Title Slide - Color">
    <p:bg>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9" name="Title 1"/>
          <p:cNvSpPr>
            <a:spLocks noGrp="1"/>
          </p:cNvSpPr>
          <p:nvPr>
            <p:ph type="title" hasCustomPrompt="1"/>
          </p:nvPr>
        </p:nvSpPr>
        <p:spPr>
          <a:xfrm>
            <a:off x="274702" y="2125677"/>
            <a:ext cx="9143936" cy="1828786"/>
          </a:xfrm>
          <a:noFill/>
        </p:spPr>
        <p:txBody>
          <a:bodyPr lIns="146304" tIns="91440" rIns="146304" bIns="91440" anchor="t" anchorCtr="0"/>
          <a:lstStyle>
            <a:lvl1pPr>
              <a:defRPr sz="5399" spc="-100" baseline="0">
                <a:gradFill>
                  <a:gsLst>
                    <a:gs pos="99115">
                      <a:schemeClr val="tx1"/>
                    </a:gs>
                    <a:gs pos="79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2" y="3955785"/>
            <a:ext cx="7315137" cy="1828007"/>
          </a:xfrm>
          <a:noFill/>
        </p:spPr>
        <p:txBody>
          <a:bodyPr lIns="146304" tIns="109728" rIns="146304" bIns="109728">
            <a:noAutofit/>
          </a:bodyPr>
          <a:lstStyle>
            <a:lvl1pPr marL="0" indent="0">
              <a:spcBef>
                <a:spcPts val="0"/>
              </a:spcBef>
              <a:buNone/>
              <a:defRPr sz="3200" spc="0" baseline="0">
                <a:gradFill>
                  <a:gsLst>
                    <a:gs pos="99115">
                      <a:schemeClr val="tx1"/>
                    </a:gs>
                    <a:gs pos="79000">
                      <a:schemeClr val="tx1"/>
                    </a:gs>
                  </a:gsLst>
                  <a:lin ang="5400000" scaled="0"/>
                </a:gradFill>
                <a:latin typeface="+mj-lt"/>
              </a:defRPr>
            </a:lvl1pPr>
          </a:lstStyle>
          <a:p>
            <a:pPr lvl="0"/>
            <a:r>
              <a:rPr lang="en-US" dirty="0"/>
              <a:t>Speaker Name</a:t>
            </a:r>
          </a:p>
        </p:txBody>
      </p:sp>
      <p:sp>
        <p:nvSpPr>
          <p:cNvPr id="7" name="Rectangle 6"/>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Tree>
    <p:extLst>
      <p:ext uri="{BB962C8B-B14F-4D97-AF65-F5344CB8AC3E}">
        <p14:creationId xmlns:p14="http://schemas.microsoft.com/office/powerpoint/2010/main" val="37263887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761038" y="1212850"/>
            <a:ext cx="6400800" cy="2782300"/>
          </a:xfrm>
        </p:spPr>
        <p:txBody>
          <a:bodyPr wrap="square">
            <a:spAutoFit/>
          </a:bodyPr>
          <a:lstStyle>
            <a:lvl1pPr marL="0" indent="0">
              <a:spcBef>
                <a:spcPts val="1800"/>
              </a:spcBef>
              <a:buNone/>
              <a:defRPr/>
            </a:lvl1pPr>
            <a:lvl2pPr marL="0" indent="0">
              <a:buNone/>
              <a:defRPr/>
            </a:lvl2pPr>
            <a:lvl3pPr marL="0" indent="0">
              <a:buNone/>
              <a:defRPr sz="2400"/>
            </a:lvl3pPr>
            <a:lvl4pPr marL="0" indent="0">
              <a:buNone/>
              <a:defRPr sz="2000"/>
            </a:lvl4pPr>
            <a:lvl5pPr marL="0" indent="0">
              <a:buNone/>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hasCustomPrompt="1"/>
          </p:nvPr>
        </p:nvSpPr>
        <p:spPr>
          <a:xfrm>
            <a:off x="5761037" y="295274"/>
            <a:ext cx="6403165" cy="917575"/>
          </a:xfrm>
        </p:spPr>
        <p:txBody>
          <a:bodyPr/>
          <a:lstStyle/>
          <a:p>
            <a:r>
              <a:rPr lang="en-US" dirty="0"/>
              <a:t>Click to edit Master style</a:t>
            </a:r>
          </a:p>
        </p:txBody>
      </p:sp>
    </p:spTree>
    <p:extLst>
      <p:ext uri="{BB962C8B-B14F-4D97-AF65-F5344CB8AC3E}">
        <p14:creationId xmlns:p14="http://schemas.microsoft.com/office/powerpoint/2010/main" val="2501473862"/>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Dem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9" y="2136776"/>
            <a:ext cx="10056812" cy="1181862"/>
          </a:xfrm>
          <a:noFill/>
        </p:spPr>
        <p:txBody>
          <a:bodyPr tIns="91440" bIns="91440" anchor="t" anchorCtr="0">
            <a:spAutoFit/>
          </a:bodyPr>
          <a:lstStyle>
            <a:lvl1pPr>
              <a:defRPr sz="7199"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4881266"/>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6" name="Rectangle 5"/>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Tree>
    <p:extLst>
      <p:ext uri="{BB962C8B-B14F-4D97-AF65-F5344CB8AC3E}">
        <p14:creationId xmlns:p14="http://schemas.microsoft.com/office/powerpoint/2010/main" val="37658490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type="obj">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4A189-996E-4F90-8741-A8CC855D3D7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3426D48-9A46-4227-85B1-52AFFC5E26E9}"/>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34E0099-903A-448D-8EC1-86E38244EA5E}"/>
              </a:ext>
            </a:extLst>
          </p:cNvPr>
          <p:cNvSpPr>
            <a:spLocks noGrp="1"/>
          </p:cNvSpPr>
          <p:nvPr>
            <p:ph type="dt" sz="half" idx="10"/>
          </p:nvPr>
        </p:nvSpPr>
        <p:spPr/>
        <p:txBody>
          <a:bodyPr/>
          <a:lstStyle/>
          <a:p>
            <a:fld id="{065B2A12-242C-4056-8CBF-0F2DBA7C4337}" type="datetimeFigureOut">
              <a:rPr lang="en-US" smtClean="0"/>
              <a:t>8/31/2018</a:t>
            </a:fld>
            <a:endParaRPr lang="en-US"/>
          </a:p>
        </p:txBody>
      </p:sp>
      <p:sp>
        <p:nvSpPr>
          <p:cNvPr id="5" name="Footer Placeholder 4">
            <a:extLst>
              <a:ext uri="{FF2B5EF4-FFF2-40B4-BE49-F238E27FC236}">
                <a16:creationId xmlns:a16="http://schemas.microsoft.com/office/drawing/2014/main" id="{844FD209-78D9-4326-BEC7-8CC06584CAB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DD882BA-3C15-4C6A-B794-A0BE4B5B8DD5}"/>
              </a:ext>
            </a:extLst>
          </p:cNvPr>
          <p:cNvSpPr>
            <a:spLocks noGrp="1"/>
          </p:cNvSpPr>
          <p:nvPr>
            <p:ph type="sldNum" sz="quarter" idx="12"/>
          </p:nvPr>
        </p:nvSpPr>
        <p:spPr/>
        <p:txBody>
          <a:bodyPr/>
          <a:lstStyle/>
          <a:p>
            <a:fld id="{30627695-67E0-4C23-A4F2-2D89DC9527E7}" type="slidenum">
              <a:rPr lang="en-US" smtClean="0"/>
              <a:t>‹#›</a:t>
            </a:fld>
            <a:endParaRPr lang="en-US"/>
          </a:p>
        </p:txBody>
      </p:sp>
    </p:spTree>
    <p:extLst>
      <p:ext uri="{BB962C8B-B14F-4D97-AF65-F5344CB8AC3E}">
        <p14:creationId xmlns:p14="http://schemas.microsoft.com/office/powerpoint/2010/main" val="1964791276"/>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2466261" y="818270"/>
            <a:ext cx="8810264" cy="2592024"/>
          </a:xfrm>
        </p:spPr>
        <p:txBody>
          <a:bodyPr bIns="0" anchor="b">
            <a:normAutofit/>
          </a:bodyPr>
          <a:lstStyle>
            <a:lvl1pPr algn="l">
              <a:defRPr sz="6731"/>
            </a:lvl1pPr>
          </a:lstStyle>
          <a:p>
            <a:r>
              <a:rPr lang="en-US"/>
              <a:t>Click to edit Master title style</a:t>
            </a:r>
            <a:endParaRPr lang="en-US" dirty="0"/>
          </a:p>
        </p:txBody>
      </p:sp>
      <p:sp>
        <p:nvSpPr>
          <p:cNvPr id="3" name="Subtitle 2"/>
          <p:cNvSpPr>
            <a:spLocks noGrp="1"/>
          </p:cNvSpPr>
          <p:nvPr>
            <p:ph type="subTitle" idx="1"/>
          </p:nvPr>
        </p:nvSpPr>
        <p:spPr>
          <a:xfrm>
            <a:off x="2466262" y="3601502"/>
            <a:ext cx="8810263" cy="997083"/>
          </a:xfrm>
        </p:spPr>
        <p:txBody>
          <a:bodyPr tIns="91440" bIns="91440">
            <a:normAutofit/>
          </a:bodyPr>
          <a:lstStyle>
            <a:lvl1pPr marL="0" indent="0" algn="l">
              <a:buNone/>
              <a:defRPr sz="1836" b="0" cap="all" baseline="0">
                <a:solidFill>
                  <a:schemeClr val="tx1"/>
                </a:solidFill>
              </a:defRPr>
            </a:lvl1pPr>
            <a:lvl2pPr marL="466298" indent="0" algn="ctr">
              <a:buNone/>
              <a:defRPr sz="1836"/>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smtClean="0"/>
              <a:t>8/31/2018</a:t>
            </a:fld>
            <a:endParaRPr lang="en-US" dirty="0"/>
          </a:p>
        </p:txBody>
      </p:sp>
      <p:sp>
        <p:nvSpPr>
          <p:cNvPr id="5" name="Footer Placeholder 4"/>
          <p:cNvSpPr>
            <a:spLocks noGrp="1"/>
          </p:cNvSpPr>
          <p:nvPr>
            <p:ph type="ftr" sz="quarter" idx="11"/>
          </p:nvPr>
        </p:nvSpPr>
        <p:spPr>
          <a:xfrm>
            <a:off x="2464957" y="335863"/>
            <a:ext cx="5073652" cy="315356"/>
          </a:xfrm>
        </p:spPr>
        <p:txBody>
          <a:bodyPr/>
          <a:lstStyle/>
          <a:p>
            <a:endParaRPr lang="en-US" dirty="0"/>
          </a:p>
        </p:txBody>
      </p:sp>
      <p:sp>
        <p:nvSpPr>
          <p:cNvPr id="6" name="Slide Number Placeholder 5"/>
          <p:cNvSpPr>
            <a:spLocks noGrp="1"/>
          </p:cNvSpPr>
          <p:nvPr>
            <p:ph type="sldNum" sz="quarter" idx="12"/>
          </p:nvPr>
        </p:nvSpPr>
        <p:spPr>
          <a:xfrm>
            <a:off x="1466492" y="814878"/>
            <a:ext cx="827282" cy="513603"/>
          </a:xfrm>
        </p:spPr>
        <p:txBody>
          <a:bodyPr/>
          <a:lstStyle/>
          <a:p>
            <a:fld id="{6D22F896-40B5-4ADD-8801-0D06FADFA095}" type="slidenum">
              <a:rPr lang="en-US" smtClean="0"/>
              <a:t>‹#›</a:t>
            </a:fld>
            <a:endParaRPr lang="en-US" dirty="0"/>
          </a:p>
        </p:txBody>
      </p:sp>
      <p:cxnSp>
        <p:nvCxnSpPr>
          <p:cNvPr id="15" name="Straight Connector 14"/>
          <p:cNvCxnSpPr/>
          <p:nvPr/>
        </p:nvCxnSpPr>
        <p:spPr>
          <a:xfrm>
            <a:off x="2466262" y="3598786"/>
            <a:ext cx="8810263" cy="0"/>
          </a:xfrm>
          <a:prstGeom prst="line">
            <a:avLst/>
          </a:prstGeom>
          <a:ln w="31750"/>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3023414666"/>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ncho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smtClean="0"/>
              <a:t>8/31/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smtClean="0"/>
              <a:t>‹#›</a:t>
            </a:fld>
            <a:endParaRPr lang="en-US" dirty="0"/>
          </a:p>
        </p:txBody>
      </p:sp>
      <p:cxnSp>
        <p:nvCxnSpPr>
          <p:cNvPr id="33" name="Straight Connector 32"/>
          <p:cNvCxnSpPr/>
          <p:nvPr/>
        </p:nvCxnSpPr>
        <p:spPr>
          <a:xfrm>
            <a:off x="1483050" y="1883859"/>
            <a:ext cx="9800173" cy="0"/>
          </a:xfrm>
          <a:prstGeom prst="line">
            <a:avLst/>
          </a:prstGeom>
          <a:ln w="31750"/>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382830305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483400" y="1791090"/>
            <a:ext cx="8816467" cy="1925534"/>
          </a:xfrm>
        </p:spPr>
        <p:txBody>
          <a:bodyPr anchor="b">
            <a:normAutofit/>
          </a:bodyPr>
          <a:lstStyle>
            <a:lvl1pPr algn="l">
              <a:defRPr sz="3672"/>
            </a:lvl1pPr>
          </a:lstStyle>
          <a:p>
            <a:r>
              <a:rPr lang="en-US"/>
              <a:t>Click to edit Master title style</a:t>
            </a:r>
            <a:endParaRPr lang="en-US" dirty="0"/>
          </a:p>
        </p:txBody>
      </p:sp>
      <p:sp>
        <p:nvSpPr>
          <p:cNvPr id="3" name="Text Placeholder 2"/>
          <p:cNvSpPr>
            <a:spLocks noGrp="1"/>
          </p:cNvSpPr>
          <p:nvPr>
            <p:ph type="body" idx="1"/>
          </p:nvPr>
        </p:nvSpPr>
        <p:spPr>
          <a:xfrm>
            <a:off x="1483400" y="3881967"/>
            <a:ext cx="8803504" cy="1033094"/>
          </a:xfrm>
        </p:spPr>
        <p:txBody>
          <a:bodyPr tIns="91440">
            <a:normAutofit/>
          </a:bodyPr>
          <a:lstStyle>
            <a:lvl1pPr marL="0" indent="0" algn="l">
              <a:buNone/>
              <a:defRPr sz="1836">
                <a:solidFill>
                  <a:schemeClr val="tx1"/>
                </a:solidFill>
              </a:defRPr>
            </a:lvl1pPr>
            <a:lvl2pPr marL="466298" indent="0">
              <a:buNone/>
              <a:defRPr sz="1836">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48A87A34-81AB-432B-8DAE-1953F412C126}" type="datetimeFigureOut">
              <a:rPr lang="en-US" smtClean="0"/>
              <a:t>8/31/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smtClean="0"/>
              <a:t>‹#›</a:t>
            </a:fld>
            <a:endParaRPr lang="en-US" dirty="0"/>
          </a:p>
        </p:txBody>
      </p:sp>
      <p:cxnSp>
        <p:nvCxnSpPr>
          <p:cNvPr id="15" name="Straight Connector 14"/>
          <p:cNvCxnSpPr/>
          <p:nvPr/>
        </p:nvCxnSpPr>
        <p:spPr>
          <a:xfrm>
            <a:off x="1483400" y="3880732"/>
            <a:ext cx="8803504" cy="0"/>
          </a:xfrm>
          <a:prstGeom prst="line">
            <a:avLst/>
          </a:prstGeom>
          <a:ln w="31750"/>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428109750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1478277" y="820913"/>
            <a:ext cx="9798248" cy="1080393"/>
          </a:xfrm>
        </p:spPr>
        <p:txBody>
          <a:bodyPr/>
          <a:lstStyle/>
          <a:p>
            <a:r>
              <a:rPr lang="en-US"/>
              <a:t>Click to edit Master title style</a:t>
            </a:r>
            <a:endParaRPr lang="en-US" dirty="0"/>
          </a:p>
        </p:txBody>
      </p:sp>
      <p:sp>
        <p:nvSpPr>
          <p:cNvPr id="3" name="Content Placeholder 2"/>
          <p:cNvSpPr>
            <a:spLocks noGrp="1"/>
          </p:cNvSpPr>
          <p:nvPr>
            <p:ph sz="half" idx="1"/>
          </p:nvPr>
        </p:nvSpPr>
        <p:spPr>
          <a:xfrm>
            <a:off x="1476353" y="2050910"/>
            <a:ext cx="4738297" cy="351724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542380" y="2057503"/>
            <a:ext cx="4738297" cy="351003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48A87A34-81AB-432B-8DAE-1953F412C126}" type="datetimeFigureOut">
              <a:rPr lang="en-US" smtClean="0"/>
              <a:t>8/31/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smtClean="0"/>
              <a:t>‹#›</a:t>
            </a:fld>
            <a:endParaRPr lang="en-US" dirty="0"/>
          </a:p>
        </p:txBody>
      </p:sp>
      <p:cxnSp>
        <p:nvCxnSpPr>
          <p:cNvPr id="35" name="Straight Connector 34"/>
          <p:cNvCxnSpPr/>
          <p:nvPr/>
        </p:nvCxnSpPr>
        <p:spPr>
          <a:xfrm>
            <a:off x="1483050" y="1883859"/>
            <a:ext cx="9800173" cy="0"/>
          </a:xfrm>
          <a:prstGeom prst="line">
            <a:avLst/>
          </a:prstGeom>
          <a:ln w="31750"/>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197539221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476211" y="820172"/>
            <a:ext cx="9800315" cy="1077348"/>
          </a:xfrm>
        </p:spPr>
        <p:txBody>
          <a:bodyPr/>
          <a:lstStyle/>
          <a:p>
            <a:r>
              <a:rPr lang="en-US"/>
              <a:t>Click to edit Master title style</a:t>
            </a:r>
            <a:endParaRPr lang="en-US" dirty="0"/>
          </a:p>
        </p:txBody>
      </p:sp>
      <p:sp>
        <p:nvSpPr>
          <p:cNvPr id="3" name="Text Placeholder 2"/>
          <p:cNvSpPr>
            <a:spLocks noGrp="1"/>
          </p:cNvSpPr>
          <p:nvPr>
            <p:ph type="body" idx="1"/>
          </p:nvPr>
        </p:nvSpPr>
        <p:spPr>
          <a:xfrm>
            <a:off x="1476210" y="2059753"/>
            <a:ext cx="4738297" cy="817908"/>
          </a:xfrm>
        </p:spPr>
        <p:txBody>
          <a:bodyPr anchor="b">
            <a:normAutofit/>
          </a:bodyPr>
          <a:lstStyle>
            <a:lvl1pPr marL="0" indent="0">
              <a:lnSpc>
                <a:spcPct val="100000"/>
              </a:lnSpc>
              <a:buNone/>
              <a:defRPr sz="2244" b="0" cap="all" baseline="0">
                <a:solidFill>
                  <a:schemeClr val="accent1"/>
                </a:solidFill>
              </a:defRPr>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4" name="Content Placeholder 3"/>
          <p:cNvSpPr>
            <a:spLocks noGrp="1"/>
          </p:cNvSpPr>
          <p:nvPr>
            <p:ph sz="half" idx="2"/>
          </p:nvPr>
        </p:nvSpPr>
        <p:spPr>
          <a:xfrm>
            <a:off x="1476210" y="2880494"/>
            <a:ext cx="4738297" cy="26971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540943" y="2063276"/>
            <a:ext cx="4738297" cy="818207"/>
          </a:xfrm>
        </p:spPr>
        <p:txBody>
          <a:bodyPr anchor="b">
            <a:normAutofit/>
          </a:bodyPr>
          <a:lstStyle>
            <a:lvl1pPr marL="0" indent="0">
              <a:lnSpc>
                <a:spcPct val="100000"/>
              </a:lnSpc>
              <a:buNone/>
              <a:defRPr sz="2244" b="0" cap="all" baseline="0">
                <a:solidFill>
                  <a:schemeClr val="accent1"/>
                </a:solidFill>
              </a:defRPr>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6" name="Content Placeholder 5"/>
          <p:cNvSpPr>
            <a:spLocks noGrp="1"/>
          </p:cNvSpPr>
          <p:nvPr>
            <p:ph sz="quarter" idx="4"/>
          </p:nvPr>
        </p:nvSpPr>
        <p:spPr>
          <a:xfrm>
            <a:off x="6540943" y="2877660"/>
            <a:ext cx="4738297" cy="26898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48A87A34-81AB-432B-8DAE-1953F412C126}" type="datetimeFigureOut">
              <a:rPr lang="en-US" smtClean="0"/>
              <a:t>8/31/2018</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6D22F896-40B5-4ADD-8801-0D06FADFA095}" type="slidenum">
              <a:rPr lang="en-US" smtClean="0"/>
              <a:t>‹#›</a:t>
            </a:fld>
            <a:endParaRPr lang="en-US" dirty="0"/>
          </a:p>
        </p:txBody>
      </p:sp>
      <p:cxnSp>
        <p:nvCxnSpPr>
          <p:cNvPr id="29" name="Straight Connector 28"/>
          <p:cNvCxnSpPr/>
          <p:nvPr/>
        </p:nvCxnSpPr>
        <p:spPr>
          <a:xfrm>
            <a:off x="1483050" y="1883859"/>
            <a:ext cx="9800173" cy="0"/>
          </a:xfrm>
          <a:prstGeom prst="line">
            <a:avLst/>
          </a:prstGeom>
          <a:ln w="31750"/>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2200145311"/>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48A87A34-81AB-432B-8DAE-1953F412C126}" type="datetimeFigureOut">
              <a:rPr lang="en-US" smtClean="0"/>
              <a:t>8/31/2018</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smtClean="0"/>
              <a:t>‹#›</a:t>
            </a:fld>
            <a:endParaRPr lang="en-US" dirty="0"/>
          </a:p>
        </p:txBody>
      </p:sp>
      <p:cxnSp>
        <p:nvCxnSpPr>
          <p:cNvPr id="25" name="Straight Connector 24"/>
          <p:cNvCxnSpPr/>
          <p:nvPr/>
        </p:nvCxnSpPr>
        <p:spPr>
          <a:xfrm>
            <a:off x="1483050" y="1883859"/>
            <a:ext cx="9800173" cy="0"/>
          </a:xfrm>
          <a:prstGeom prst="line">
            <a:avLst/>
          </a:prstGeom>
          <a:ln w="31750"/>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17715682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315" indent="-287315">
              <a:spcBef>
                <a:spcPts val="1224"/>
              </a:spcBef>
              <a:buClr>
                <a:schemeClr val="tx2"/>
              </a:buClr>
              <a:buFont typeface="Wingdings" panose="05000000000000000000" pitchFamily="2" charset="2"/>
              <a:buChar char="§"/>
              <a:defRPr sz="3200">
                <a:gradFill>
                  <a:gsLst>
                    <a:gs pos="19469">
                      <a:schemeClr val="tx2"/>
                    </a:gs>
                    <a:gs pos="32000">
                      <a:schemeClr val="tx2"/>
                    </a:gs>
                  </a:gsLst>
                  <a:lin ang="5400000" scaled="0"/>
                </a:gradFill>
              </a:defRPr>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0" y="1212849"/>
            <a:ext cx="5486399" cy="2425279"/>
          </a:xfrm>
        </p:spPr>
        <p:txBody>
          <a:bodyPr wrap="square">
            <a:spAutoFit/>
          </a:bodyPr>
          <a:lstStyle>
            <a:lvl1pPr marL="287315" indent="-287315">
              <a:spcBef>
                <a:spcPts val="1224"/>
              </a:spcBef>
              <a:buClr>
                <a:schemeClr val="tx2"/>
              </a:buClr>
              <a:buFont typeface="Wingdings" panose="05000000000000000000" pitchFamily="2" charset="2"/>
              <a:buChar char="§"/>
              <a:defRPr sz="3200">
                <a:gradFill>
                  <a:gsLst>
                    <a:gs pos="19469">
                      <a:schemeClr val="tx2"/>
                    </a:gs>
                    <a:gs pos="32000">
                      <a:schemeClr val="tx2"/>
                    </a:gs>
                  </a:gsLst>
                  <a:lin ang="5400000" scaled="0"/>
                </a:gradFill>
              </a:defRPr>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79946700"/>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8A87A34-81AB-432B-8DAE-1953F412C126}" type="datetimeFigureOut">
              <a:rPr lang="en-US" smtClean="0"/>
              <a:t>8/31/2018</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6D22F896-40B5-4ADD-8801-0D06FADFA095}" type="slidenum">
              <a:rPr lang="en-US" smtClean="0"/>
              <a:t>‹#›</a:t>
            </a:fld>
            <a:endParaRPr lang="en-US" dirty="0"/>
          </a:p>
        </p:txBody>
      </p:sp>
    </p:spTree>
    <p:extLst>
      <p:ext uri="{BB962C8B-B14F-4D97-AF65-F5344CB8AC3E}">
        <p14:creationId xmlns:p14="http://schemas.microsoft.com/office/powerpoint/2010/main" val="3140771995"/>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473640" y="814879"/>
            <a:ext cx="3338731" cy="2291851"/>
          </a:xfrm>
        </p:spPr>
        <p:txBody>
          <a:bodyPr anchor="b">
            <a:normAutofit/>
          </a:bodyPr>
          <a:lstStyle>
            <a:lvl1pPr algn="l">
              <a:defRPr sz="2448"/>
            </a:lvl1pPr>
          </a:lstStyle>
          <a:p>
            <a:r>
              <a:rPr lang="en-US"/>
              <a:t>Click to edit Master title style</a:t>
            </a:r>
            <a:endParaRPr lang="en-US" dirty="0"/>
          </a:p>
        </p:txBody>
      </p:sp>
      <p:sp>
        <p:nvSpPr>
          <p:cNvPr id="3" name="Content Placeholder 2"/>
          <p:cNvSpPr>
            <a:spLocks noGrp="1"/>
          </p:cNvSpPr>
          <p:nvPr>
            <p:ph idx="1"/>
          </p:nvPr>
        </p:nvSpPr>
        <p:spPr>
          <a:xfrm>
            <a:off x="5144851" y="814880"/>
            <a:ext cx="6133033" cy="4751571"/>
          </a:xfrm>
        </p:spPr>
        <p:txBody>
          <a:bodyPr anchor="ct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1473640" y="3269305"/>
            <a:ext cx="3340684" cy="2292936"/>
          </a:xfrm>
        </p:spPr>
        <p:txBody>
          <a:bodyPr/>
          <a:lstStyle>
            <a:lvl1pPr marL="0" indent="0" algn="l">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p:cNvSpPr>
            <a:spLocks noGrp="1"/>
          </p:cNvSpPr>
          <p:nvPr>
            <p:ph type="dt" sz="half" idx="10"/>
          </p:nvPr>
        </p:nvSpPr>
        <p:spPr/>
        <p:txBody>
          <a:bodyPr/>
          <a:lstStyle/>
          <a:p>
            <a:fld id="{48A87A34-81AB-432B-8DAE-1953F412C126}" type="datetimeFigureOut">
              <a:rPr lang="en-US" smtClean="0"/>
              <a:t>8/31/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smtClean="0"/>
              <a:t>‹#›</a:t>
            </a:fld>
            <a:endParaRPr lang="en-US" dirty="0"/>
          </a:p>
        </p:txBody>
      </p:sp>
      <p:cxnSp>
        <p:nvCxnSpPr>
          <p:cNvPr id="17" name="Straight Connector 16"/>
          <p:cNvCxnSpPr/>
          <p:nvPr/>
        </p:nvCxnSpPr>
        <p:spPr>
          <a:xfrm>
            <a:off x="1477321" y="3269304"/>
            <a:ext cx="3335050" cy="0"/>
          </a:xfrm>
          <a:prstGeom prst="line">
            <a:avLst/>
          </a:prstGeom>
          <a:ln w="31750"/>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2599933864"/>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pSp>
        <p:nvGrpSpPr>
          <p:cNvPr id="8" name="Group 7"/>
          <p:cNvGrpSpPr/>
          <p:nvPr/>
        </p:nvGrpSpPr>
        <p:grpSpPr>
          <a:xfrm>
            <a:off x="7627325" y="491769"/>
            <a:ext cx="4156236" cy="5251606"/>
            <a:chOff x="7477387" y="482170"/>
            <a:chExt cx="4074533" cy="5149101"/>
          </a:xfrm>
        </p:grpSpPr>
        <p:sp>
          <p:nvSpPr>
            <p:cNvPr id="18" name="Rectangle 17"/>
            <p:cNvSpPr/>
            <p:nvPr/>
          </p:nvSpPr>
          <p:spPr bwMode="black">
            <a:xfrm>
              <a:off x="7477387" y="482170"/>
              <a:ext cx="4074533" cy="5149101"/>
            </a:xfrm>
            <a:prstGeom prst="rect">
              <a:avLst/>
            </a:prstGeom>
            <a:gradFill>
              <a:gsLst>
                <a:gs pos="0">
                  <a:srgbClr val="000001"/>
                </a:gs>
                <a:gs pos="100000">
                  <a:srgbClr val="191919"/>
                </a:gs>
              </a:gsLst>
            </a:gradFill>
            <a:ln w="76200" cmpd="sng">
              <a:noFill/>
              <a:miter lim="800000"/>
            </a:ln>
            <a:effectLst>
              <a:outerShdw blurRad="127000" dist="228600" dir="4740000" sx="98000" sy="98000" algn="tl" rotWithShape="0">
                <a:srgbClr val="000000">
                  <a:alpha val="34000"/>
                </a:srgbClr>
              </a:outerShdw>
            </a:effectLst>
            <a:scene3d>
              <a:camera prst="orthographicFront"/>
              <a:lightRig rig="threePt" dir="t"/>
            </a:scene3d>
            <a:sp3d>
              <a:bevelT w="152400" h="50800" prst="softRound"/>
            </a:sp3d>
          </p:spPr>
          <p:style>
            <a:lnRef idx="1">
              <a:schemeClr val="accent1"/>
            </a:lnRef>
            <a:fillRef idx="3">
              <a:schemeClr val="accent1"/>
            </a:fillRef>
            <a:effectRef idx="2">
              <a:schemeClr val="accent1"/>
            </a:effectRef>
            <a:fontRef idx="minor">
              <a:schemeClr val="lt1"/>
            </a:fontRef>
          </p:style>
        </p:sp>
        <p:sp>
          <p:nvSpPr>
            <p:cNvPr id="19" name="Rectangle 18"/>
            <p:cNvSpPr/>
            <p:nvPr/>
          </p:nvSpPr>
          <p:spPr bwMode="blackWhite">
            <a:xfrm>
              <a:off x="7790446" y="812506"/>
              <a:ext cx="3450289" cy="4466452"/>
            </a:xfrm>
            <a:prstGeom prst="rect">
              <a:avLst/>
            </a:prstGeom>
            <a:gradFill>
              <a:gsLst>
                <a:gs pos="0">
                  <a:srgbClr val="DADADA"/>
                </a:gs>
                <a:gs pos="100000">
                  <a:srgbClr val="FFFFFE"/>
                </a:gs>
              </a:gsLst>
              <a:lin ang="16200000" scaled="0"/>
            </a:gradFill>
            <a:ln w="50800" cmpd="sng">
              <a:solidFill>
                <a:srgbClr val="191919"/>
              </a:solidFill>
              <a:miter lim="800000"/>
            </a:ln>
            <a:effectLst>
              <a:innerShdw blurRad="63500" dist="88900" dir="14100000">
                <a:srgbClr val="000000">
                  <a:alpha val="30000"/>
                </a:srgbClr>
              </a:innerShdw>
            </a:effectLst>
            <a:scene3d>
              <a:camera prst="orthographicFront"/>
              <a:lightRig rig="threePt" dir="t"/>
            </a:scene3d>
            <a:sp3d>
              <a:bevelT prst="relaxedInset"/>
            </a:sp3d>
          </p:spPr>
          <p:style>
            <a:lnRef idx="1">
              <a:schemeClr val="accent1"/>
            </a:lnRef>
            <a:fillRef idx="3">
              <a:schemeClr val="accent1"/>
            </a:fillRef>
            <a:effectRef idx="2">
              <a:schemeClr val="accent1"/>
            </a:effectRef>
            <a:fontRef idx="minor">
              <a:schemeClr val="lt1"/>
            </a:fontRef>
          </p:style>
        </p:sp>
      </p:grpSp>
      <p:sp>
        <p:nvSpPr>
          <p:cNvPr id="2" name="Title 1"/>
          <p:cNvSpPr>
            <a:spLocks noGrp="1"/>
          </p:cNvSpPr>
          <p:nvPr>
            <p:ph type="title"/>
          </p:nvPr>
        </p:nvSpPr>
        <p:spPr>
          <a:xfrm>
            <a:off x="1480306" y="1151999"/>
            <a:ext cx="5643263" cy="1867026"/>
          </a:xfrm>
        </p:spPr>
        <p:txBody>
          <a:bodyPr anchor="b">
            <a:normAutofit/>
          </a:bodyPr>
          <a:lstStyle>
            <a:lvl1pPr>
              <a:defRPr sz="3264"/>
            </a:lvl1pPr>
          </a:lstStyle>
          <a:p>
            <a:r>
              <a:rPr lang="en-US"/>
              <a:t>Click to edit Master title style</a:t>
            </a:r>
            <a:endParaRPr lang="en-US" dirty="0"/>
          </a:p>
        </p:txBody>
      </p:sp>
      <p:sp>
        <p:nvSpPr>
          <p:cNvPr id="3" name="Picture Placeholder 2"/>
          <p:cNvSpPr>
            <a:spLocks noGrp="1" noChangeAspect="1"/>
          </p:cNvSpPr>
          <p:nvPr>
            <p:ph type="pic" idx="1"/>
          </p:nvPr>
        </p:nvSpPr>
        <p:spPr>
          <a:xfrm>
            <a:off x="8287300" y="1144889"/>
            <a:ext cx="2847140" cy="3943296"/>
          </a:xfrm>
          <a:solidFill>
            <a:schemeClr val="bg1">
              <a:lumMod val="85000"/>
            </a:schemeClr>
          </a:solidFill>
          <a:ln w="9525" cap="sq">
            <a:noFill/>
            <a:miter lim="800000"/>
          </a:ln>
          <a:effectLst/>
        </p:spPr>
        <p:txBody>
          <a:bodyPr anchor="t"/>
          <a:lstStyle>
            <a:lvl1pPr marL="0" indent="0" algn="ctr">
              <a:buNone/>
              <a:defRPr sz="3264"/>
            </a:lvl1pPr>
            <a:lvl2pPr marL="466298" indent="0">
              <a:buNone/>
              <a:defRPr sz="2856"/>
            </a:lvl2pPr>
            <a:lvl3pPr marL="932597" indent="0">
              <a:buNone/>
              <a:defRPr sz="2448"/>
            </a:lvl3pPr>
            <a:lvl4pPr marL="1398895" indent="0">
              <a:buNone/>
              <a:defRPr sz="2040"/>
            </a:lvl4pPr>
            <a:lvl5pPr marL="1865193" indent="0">
              <a:buNone/>
              <a:defRPr sz="2040"/>
            </a:lvl5pPr>
            <a:lvl6pPr marL="2331491" indent="0">
              <a:buNone/>
              <a:defRPr sz="2040"/>
            </a:lvl6pPr>
            <a:lvl7pPr marL="2797790" indent="0">
              <a:buNone/>
              <a:defRPr sz="2040"/>
            </a:lvl7pPr>
            <a:lvl8pPr marL="3264088" indent="0">
              <a:buNone/>
              <a:defRPr sz="2040"/>
            </a:lvl8pPr>
            <a:lvl9pPr marL="3730386" indent="0">
              <a:buNone/>
              <a:defRPr sz="2040"/>
            </a:lvl9pPr>
          </a:lstStyle>
          <a:p>
            <a:r>
              <a:rPr lang="en-US"/>
              <a:t>Click icon to add picture</a:t>
            </a:r>
            <a:endParaRPr lang="en-US" dirty="0"/>
          </a:p>
        </p:txBody>
      </p:sp>
      <p:sp>
        <p:nvSpPr>
          <p:cNvPr id="4" name="Text Placeholder 3"/>
          <p:cNvSpPr>
            <a:spLocks noGrp="1"/>
          </p:cNvSpPr>
          <p:nvPr>
            <p:ph type="body" sz="half" idx="2"/>
          </p:nvPr>
        </p:nvSpPr>
        <p:spPr>
          <a:xfrm>
            <a:off x="1479411" y="3208621"/>
            <a:ext cx="5635180" cy="2043631"/>
          </a:xfrm>
        </p:spPr>
        <p:txBody>
          <a:bodyPr>
            <a:normAutofit/>
          </a:bodyPr>
          <a:lstStyle>
            <a:lvl1pPr marL="0" indent="0" algn="l">
              <a:buNone/>
              <a:defRPr sz="1836"/>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p:cNvSpPr>
            <a:spLocks noGrp="1"/>
          </p:cNvSpPr>
          <p:nvPr>
            <p:ph type="dt" sz="half" idx="10"/>
          </p:nvPr>
        </p:nvSpPr>
        <p:spPr>
          <a:xfrm>
            <a:off x="1476405" y="5578747"/>
            <a:ext cx="5638186" cy="326496"/>
          </a:xfrm>
        </p:spPr>
        <p:txBody>
          <a:bodyPr/>
          <a:lstStyle>
            <a:lvl1pPr algn="l">
              <a:defRPr/>
            </a:lvl1pPr>
          </a:lstStyle>
          <a:p>
            <a:fld id="{48A87A34-81AB-432B-8DAE-1953F412C126}" type="datetimeFigureOut">
              <a:rPr lang="en-US" smtClean="0"/>
              <a:pPr/>
              <a:t>8/31/2018</a:t>
            </a:fld>
            <a:endParaRPr lang="en-US" dirty="0"/>
          </a:p>
        </p:txBody>
      </p:sp>
      <p:sp>
        <p:nvSpPr>
          <p:cNvPr id="6" name="Footer Placeholder 5"/>
          <p:cNvSpPr>
            <a:spLocks noGrp="1"/>
          </p:cNvSpPr>
          <p:nvPr>
            <p:ph type="ftr" sz="quarter" idx="11"/>
          </p:nvPr>
        </p:nvSpPr>
        <p:spPr>
          <a:xfrm>
            <a:off x="1476405" y="324984"/>
            <a:ext cx="5652113" cy="327320"/>
          </a:xfrm>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smtClean="0"/>
              <a:t>‹#›</a:t>
            </a:fld>
            <a:endParaRPr lang="en-US" dirty="0"/>
          </a:p>
        </p:txBody>
      </p:sp>
      <p:cxnSp>
        <p:nvCxnSpPr>
          <p:cNvPr id="31" name="Straight Connector 30"/>
          <p:cNvCxnSpPr/>
          <p:nvPr/>
        </p:nvCxnSpPr>
        <p:spPr>
          <a:xfrm>
            <a:off x="1476405" y="3206186"/>
            <a:ext cx="5638186" cy="0"/>
          </a:xfrm>
          <a:prstGeom prst="line">
            <a:avLst/>
          </a:prstGeom>
          <a:ln w="31750"/>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2374542015"/>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smtClean="0"/>
              <a:t>8/31/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smtClean="0"/>
              <a:t>‹#›</a:t>
            </a:fld>
            <a:endParaRPr lang="en-US" dirty="0"/>
          </a:p>
        </p:txBody>
      </p:sp>
      <p:cxnSp>
        <p:nvCxnSpPr>
          <p:cNvPr id="26" name="Straight Connector 25"/>
          <p:cNvCxnSpPr/>
          <p:nvPr/>
        </p:nvCxnSpPr>
        <p:spPr>
          <a:xfrm>
            <a:off x="1483050" y="1883859"/>
            <a:ext cx="9800173" cy="0"/>
          </a:xfrm>
          <a:prstGeom prst="line">
            <a:avLst/>
          </a:prstGeom>
          <a:ln w="31750"/>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1441922905"/>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628385" y="814879"/>
            <a:ext cx="1648141" cy="4752655"/>
          </a:xfrm>
        </p:spPr>
        <p:txBody>
          <a:bodyPr vert="eaVert"/>
          <a:lstStyle>
            <a:lvl1pPr algn="l">
              <a:defRPr/>
            </a:lvl1pPr>
          </a:lstStyle>
          <a:p>
            <a:r>
              <a:rPr lang="en-US"/>
              <a:t>Click to edit Master title style</a:t>
            </a:r>
            <a:endParaRPr lang="en-US" dirty="0"/>
          </a:p>
        </p:txBody>
      </p:sp>
      <p:sp>
        <p:nvSpPr>
          <p:cNvPr id="3" name="Vertical Text Placeholder 2"/>
          <p:cNvSpPr>
            <a:spLocks noGrp="1"/>
          </p:cNvSpPr>
          <p:nvPr>
            <p:ph type="body" orient="vert" idx="1"/>
          </p:nvPr>
        </p:nvSpPr>
        <p:spPr>
          <a:xfrm>
            <a:off x="1473641" y="814879"/>
            <a:ext cx="7985814" cy="4752655"/>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smtClean="0"/>
              <a:t>8/31/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smtClean="0"/>
              <a:t>‹#›</a:t>
            </a:fld>
            <a:endParaRPr lang="en-US" dirty="0"/>
          </a:p>
        </p:txBody>
      </p:sp>
      <p:cxnSp>
        <p:nvCxnSpPr>
          <p:cNvPr id="15" name="Straight Connector 14"/>
          <p:cNvCxnSpPr/>
          <p:nvPr/>
        </p:nvCxnSpPr>
        <p:spPr>
          <a:xfrm>
            <a:off x="9628385" y="814879"/>
            <a:ext cx="0" cy="4752655"/>
          </a:xfrm>
          <a:prstGeom prst="line">
            <a:avLst/>
          </a:prstGeom>
          <a:ln w="31750"/>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1480009872"/>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Title Slide - Color">
    <p:bg>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9" name="Title 1"/>
          <p:cNvSpPr>
            <a:spLocks noGrp="1"/>
          </p:cNvSpPr>
          <p:nvPr>
            <p:ph type="title" hasCustomPrompt="1"/>
          </p:nvPr>
        </p:nvSpPr>
        <p:spPr>
          <a:xfrm>
            <a:off x="274702" y="2125677"/>
            <a:ext cx="9143936" cy="1828786"/>
          </a:xfrm>
          <a:noFill/>
        </p:spPr>
        <p:txBody>
          <a:bodyPr lIns="146304" tIns="91440" rIns="146304" bIns="91440" anchor="t" anchorCtr="0"/>
          <a:lstStyle>
            <a:lvl1pPr>
              <a:defRPr sz="5399" spc="-100" baseline="0">
                <a:gradFill>
                  <a:gsLst>
                    <a:gs pos="99115">
                      <a:schemeClr val="tx1"/>
                    </a:gs>
                    <a:gs pos="79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2" y="3955785"/>
            <a:ext cx="7315137" cy="1828007"/>
          </a:xfrm>
          <a:noFill/>
        </p:spPr>
        <p:txBody>
          <a:bodyPr lIns="146304" tIns="109728" rIns="146304" bIns="109728">
            <a:noAutofit/>
          </a:bodyPr>
          <a:lstStyle>
            <a:lvl1pPr marL="0" indent="0">
              <a:spcBef>
                <a:spcPts val="0"/>
              </a:spcBef>
              <a:buNone/>
              <a:defRPr sz="3200" spc="0" baseline="0">
                <a:gradFill>
                  <a:gsLst>
                    <a:gs pos="99115">
                      <a:schemeClr val="tx1"/>
                    </a:gs>
                    <a:gs pos="79000">
                      <a:schemeClr val="tx1"/>
                    </a:gs>
                  </a:gsLst>
                  <a:lin ang="5400000" scaled="0"/>
                </a:gradFill>
                <a:latin typeface="+mj-lt"/>
              </a:defRPr>
            </a:lvl1pPr>
          </a:lstStyle>
          <a:p>
            <a:pPr lvl="0"/>
            <a:r>
              <a:rPr lang="en-US" dirty="0"/>
              <a:t>Speaker Name</a:t>
            </a:r>
          </a:p>
        </p:txBody>
      </p:sp>
      <p:sp>
        <p:nvSpPr>
          <p:cNvPr id="7" name="Rectangle 6"/>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Tree>
    <p:extLst>
      <p:ext uri="{BB962C8B-B14F-4D97-AF65-F5344CB8AC3E}">
        <p14:creationId xmlns:p14="http://schemas.microsoft.com/office/powerpoint/2010/main" val="24342689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761038" y="1212850"/>
            <a:ext cx="6400800" cy="2782300"/>
          </a:xfrm>
        </p:spPr>
        <p:txBody>
          <a:bodyPr wrap="square">
            <a:spAutoFit/>
          </a:bodyPr>
          <a:lstStyle>
            <a:lvl1pPr marL="0" indent="0">
              <a:spcBef>
                <a:spcPts val="1800"/>
              </a:spcBef>
              <a:buNone/>
              <a:defRPr/>
            </a:lvl1pPr>
            <a:lvl2pPr marL="0" indent="0">
              <a:buNone/>
              <a:defRPr/>
            </a:lvl2pPr>
            <a:lvl3pPr marL="0" indent="0">
              <a:buNone/>
              <a:defRPr sz="2400"/>
            </a:lvl3pPr>
            <a:lvl4pPr marL="0" indent="0">
              <a:buNone/>
              <a:defRPr sz="2000"/>
            </a:lvl4pPr>
            <a:lvl5pPr marL="0" indent="0">
              <a:buNone/>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hasCustomPrompt="1"/>
          </p:nvPr>
        </p:nvSpPr>
        <p:spPr>
          <a:xfrm>
            <a:off x="5761037" y="295274"/>
            <a:ext cx="6403165" cy="917575"/>
          </a:xfrm>
        </p:spPr>
        <p:txBody>
          <a:bodyPr/>
          <a:lstStyle/>
          <a:p>
            <a:r>
              <a:rPr lang="en-US" dirty="0"/>
              <a:t>Click to edit Master style</a:t>
            </a:r>
          </a:p>
        </p:txBody>
      </p:sp>
    </p:spTree>
    <p:extLst>
      <p:ext uri="{BB962C8B-B14F-4D97-AF65-F5344CB8AC3E}">
        <p14:creationId xmlns:p14="http://schemas.microsoft.com/office/powerpoint/2010/main" val="1382000048"/>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slideLayout" Target="../slideLayouts/slideLayout41.xml"/><Relationship Id="rId18" Type="http://schemas.openxmlformats.org/officeDocument/2006/relationships/slideLayout" Target="../slideLayouts/slideLayout46.xml"/><Relationship Id="rId3" Type="http://schemas.openxmlformats.org/officeDocument/2006/relationships/slideLayout" Target="../slideLayouts/slideLayout31.xml"/><Relationship Id="rId21" Type="http://schemas.openxmlformats.org/officeDocument/2006/relationships/slideLayout" Target="../slideLayouts/slideLayout49.xml"/><Relationship Id="rId7" Type="http://schemas.openxmlformats.org/officeDocument/2006/relationships/slideLayout" Target="../slideLayouts/slideLayout35.xml"/><Relationship Id="rId12" Type="http://schemas.openxmlformats.org/officeDocument/2006/relationships/slideLayout" Target="../slideLayouts/slideLayout40.xml"/><Relationship Id="rId17" Type="http://schemas.openxmlformats.org/officeDocument/2006/relationships/slideLayout" Target="../slideLayouts/slideLayout45.xml"/><Relationship Id="rId2" Type="http://schemas.openxmlformats.org/officeDocument/2006/relationships/slideLayout" Target="../slideLayouts/slideLayout30.xml"/><Relationship Id="rId16" Type="http://schemas.openxmlformats.org/officeDocument/2006/relationships/slideLayout" Target="../slideLayouts/slideLayout44.xml"/><Relationship Id="rId20" Type="http://schemas.openxmlformats.org/officeDocument/2006/relationships/slideLayout" Target="../slideLayouts/slideLayout48.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24" Type="http://schemas.openxmlformats.org/officeDocument/2006/relationships/image" Target="../media/image1.png"/><Relationship Id="rId5" Type="http://schemas.openxmlformats.org/officeDocument/2006/relationships/slideLayout" Target="../slideLayouts/slideLayout33.xml"/><Relationship Id="rId15" Type="http://schemas.openxmlformats.org/officeDocument/2006/relationships/slideLayout" Target="../slideLayouts/slideLayout43.xml"/><Relationship Id="rId23" Type="http://schemas.openxmlformats.org/officeDocument/2006/relationships/theme" Target="../theme/theme2.xml"/><Relationship Id="rId10" Type="http://schemas.openxmlformats.org/officeDocument/2006/relationships/slideLayout" Target="../slideLayouts/slideLayout38.xml"/><Relationship Id="rId19" Type="http://schemas.openxmlformats.org/officeDocument/2006/relationships/slideLayout" Target="../slideLayouts/slideLayout47.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slideLayout" Target="../slideLayouts/slideLayout42.xml"/><Relationship Id="rId22" Type="http://schemas.openxmlformats.org/officeDocument/2006/relationships/slideLayout" Target="../slideLayouts/slideLayout5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slideLayout" Target="../slideLayouts/slideLayout63.xml"/><Relationship Id="rId18" Type="http://schemas.openxmlformats.org/officeDocument/2006/relationships/slideLayout" Target="../slideLayouts/slideLayout68.xml"/><Relationship Id="rId26" Type="http://schemas.openxmlformats.org/officeDocument/2006/relationships/slideLayout" Target="../slideLayouts/slideLayout76.xml"/><Relationship Id="rId3" Type="http://schemas.openxmlformats.org/officeDocument/2006/relationships/slideLayout" Target="../slideLayouts/slideLayout53.xml"/><Relationship Id="rId21" Type="http://schemas.openxmlformats.org/officeDocument/2006/relationships/slideLayout" Target="../slideLayouts/slideLayout71.xml"/><Relationship Id="rId34" Type="http://schemas.openxmlformats.org/officeDocument/2006/relationships/theme" Target="../theme/theme3.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5" Type="http://schemas.openxmlformats.org/officeDocument/2006/relationships/slideLayout" Target="../slideLayouts/slideLayout75.xml"/><Relationship Id="rId33" Type="http://schemas.openxmlformats.org/officeDocument/2006/relationships/slideLayout" Target="../slideLayouts/slideLayout83.xml"/><Relationship Id="rId2" Type="http://schemas.openxmlformats.org/officeDocument/2006/relationships/slideLayout" Target="../slideLayouts/slideLayout52.xml"/><Relationship Id="rId16" Type="http://schemas.openxmlformats.org/officeDocument/2006/relationships/slideLayout" Target="../slideLayouts/slideLayout66.xml"/><Relationship Id="rId20" Type="http://schemas.openxmlformats.org/officeDocument/2006/relationships/slideLayout" Target="../slideLayouts/slideLayout70.xml"/><Relationship Id="rId29" Type="http://schemas.openxmlformats.org/officeDocument/2006/relationships/slideLayout" Target="../slideLayouts/slideLayout79.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24" Type="http://schemas.openxmlformats.org/officeDocument/2006/relationships/slideLayout" Target="../slideLayouts/slideLayout74.xml"/><Relationship Id="rId32" Type="http://schemas.openxmlformats.org/officeDocument/2006/relationships/slideLayout" Target="../slideLayouts/slideLayout82.xml"/><Relationship Id="rId5" Type="http://schemas.openxmlformats.org/officeDocument/2006/relationships/slideLayout" Target="../slideLayouts/slideLayout55.xml"/><Relationship Id="rId15" Type="http://schemas.openxmlformats.org/officeDocument/2006/relationships/slideLayout" Target="../slideLayouts/slideLayout65.xml"/><Relationship Id="rId23" Type="http://schemas.openxmlformats.org/officeDocument/2006/relationships/slideLayout" Target="../slideLayouts/slideLayout73.xml"/><Relationship Id="rId28" Type="http://schemas.openxmlformats.org/officeDocument/2006/relationships/slideLayout" Target="../slideLayouts/slideLayout78.xml"/><Relationship Id="rId10" Type="http://schemas.openxmlformats.org/officeDocument/2006/relationships/slideLayout" Target="../slideLayouts/slideLayout60.xml"/><Relationship Id="rId19" Type="http://schemas.openxmlformats.org/officeDocument/2006/relationships/slideLayout" Target="../slideLayouts/slideLayout69.xml"/><Relationship Id="rId31" Type="http://schemas.openxmlformats.org/officeDocument/2006/relationships/slideLayout" Target="../slideLayouts/slideLayout81.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 Id="rId22" Type="http://schemas.openxmlformats.org/officeDocument/2006/relationships/slideLayout" Target="../slideLayouts/slideLayout72.xml"/><Relationship Id="rId27" Type="http://schemas.openxmlformats.org/officeDocument/2006/relationships/slideLayout" Target="../slideLayouts/slideLayout77.xml"/><Relationship Id="rId30" Type="http://schemas.openxmlformats.org/officeDocument/2006/relationships/slideLayout" Target="../slideLayouts/slideLayout80.xml"/><Relationship Id="rId35" Type="http://schemas.openxmlformats.org/officeDocument/2006/relationships/image" Target="../media/image10.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91.xml"/><Relationship Id="rId13" Type="http://schemas.openxmlformats.org/officeDocument/2006/relationships/slideLayout" Target="../slideLayouts/slideLayout96.xml"/><Relationship Id="rId3" Type="http://schemas.openxmlformats.org/officeDocument/2006/relationships/slideLayout" Target="../slideLayouts/slideLayout86.xml"/><Relationship Id="rId7" Type="http://schemas.openxmlformats.org/officeDocument/2006/relationships/slideLayout" Target="../slideLayouts/slideLayout90.xml"/><Relationship Id="rId12" Type="http://schemas.openxmlformats.org/officeDocument/2006/relationships/slideLayout" Target="../slideLayouts/slideLayout95.xml"/><Relationship Id="rId2" Type="http://schemas.openxmlformats.org/officeDocument/2006/relationships/slideLayout" Target="../slideLayouts/slideLayout85.xml"/><Relationship Id="rId16" Type="http://schemas.openxmlformats.org/officeDocument/2006/relationships/image" Target="../media/image10.png"/><Relationship Id="rId1" Type="http://schemas.openxmlformats.org/officeDocument/2006/relationships/slideLayout" Target="../slideLayouts/slideLayout84.xml"/><Relationship Id="rId6" Type="http://schemas.openxmlformats.org/officeDocument/2006/relationships/slideLayout" Target="../slideLayouts/slideLayout89.xml"/><Relationship Id="rId11" Type="http://schemas.openxmlformats.org/officeDocument/2006/relationships/slideLayout" Target="../slideLayouts/slideLayout94.xml"/><Relationship Id="rId5" Type="http://schemas.openxmlformats.org/officeDocument/2006/relationships/slideLayout" Target="../slideLayouts/slideLayout88.xml"/><Relationship Id="rId15" Type="http://schemas.openxmlformats.org/officeDocument/2006/relationships/image" Target="../media/image15.jpg"/><Relationship Id="rId10" Type="http://schemas.openxmlformats.org/officeDocument/2006/relationships/slideLayout" Target="../slideLayouts/slideLayout93.xml"/><Relationship Id="rId4" Type="http://schemas.openxmlformats.org/officeDocument/2006/relationships/slideLayout" Target="../slideLayouts/slideLayout87.xml"/><Relationship Id="rId9" Type="http://schemas.openxmlformats.org/officeDocument/2006/relationships/slideLayout" Target="../slideLayouts/slideLayout92.xml"/><Relationship Id="rId14"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2"/>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0"/>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588427678"/>
      </p:ext>
    </p:extLst>
  </p:cSld>
  <p:clrMap bg1="dk1" tx1="lt1" bg2="dk2" tx2="lt2" accent1="accent1" accent2="accent2" accent3="accent3" accent4="accent4" accent5="accent5" accent6="accent6" hlink="hlink" folHlink="folHlink"/>
  <p:sldLayoutIdLst>
    <p:sldLayoutId id="2147484269" r:id="rId1"/>
    <p:sldLayoutId id="2147484236" r:id="rId2"/>
    <p:sldLayoutId id="2147484240" r:id="rId3"/>
    <p:sldLayoutId id="2147484272" r:id="rId4"/>
    <p:sldLayoutId id="2147484241" r:id="rId5"/>
    <p:sldLayoutId id="2147484273" r:id="rId6"/>
    <p:sldLayoutId id="2147484244" r:id="rId7"/>
    <p:sldLayoutId id="2147484274" r:id="rId8"/>
    <p:sldLayoutId id="2147484245" r:id="rId9"/>
    <p:sldLayoutId id="2147484275" r:id="rId10"/>
    <p:sldLayoutId id="2147484247" r:id="rId11"/>
    <p:sldLayoutId id="2147484249" r:id="rId12"/>
    <p:sldLayoutId id="2147484250" r:id="rId13"/>
    <p:sldLayoutId id="2147484264" r:id="rId14"/>
    <p:sldLayoutId id="2147484251" r:id="rId15"/>
    <p:sldLayoutId id="2147484270" r:id="rId16"/>
    <p:sldLayoutId id="2147484252" r:id="rId17"/>
    <p:sldLayoutId id="2147484253" r:id="rId18"/>
    <p:sldLayoutId id="2147484254" r:id="rId19"/>
    <p:sldLayoutId id="2147484271" r:id="rId20"/>
    <p:sldLayoutId id="2147484257" r:id="rId21"/>
    <p:sldLayoutId id="2147484258" r:id="rId22"/>
    <p:sldLayoutId id="2147484259" r:id="rId23"/>
    <p:sldLayoutId id="2147484260" r:id="rId24"/>
    <p:sldLayoutId id="2147484261" r:id="rId25"/>
    <p:sldLayoutId id="2147484263" r:id="rId26"/>
    <p:sldLayoutId id="2147484276" r:id="rId27"/>
    <p:sldLayoutId id="2147484284" r:id="rId28"/>
  </p:sldLayoutIdLst>
  <p:transition>
    <p:fade/>
  </p:transition>
  <p:txStyles>
    <p:titleStyle>
      <a:lvl1pPr algn="l" defTabSz="932667"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73" marR="0" indent="-342873"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154" marR="0" indent="-241281"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036"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618"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199"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67" rtl="0" eaLnBrk="1" latinLnBrk="0" hangingPunct="1">
        <a:defRPr sz="1800" kern="1200">
          <a:solidFill>
            <a:schemeClr val="tx1"/>
          </a:solidFill>
          <a:latin typeface="+mn-lt"/>
          <a:ea typeface="+mn-ea"/>
          <a:cs typeface="+mn-cs"/>
        </a:defRPr>
      </a:lvl1pPr>
      <a:lvl2pPr marL="466334" algn="l" defTabSz="932667" rtl="0" eaLnBrk="1" latinLnBrk="0" hangingPunct="1">
        <a:defRPr sz="1800" kern="1200">
          <a:solidFill>
            <a:schemeClr val="tx1"/>
          </a:solidFill>
          <a:latin typeface="+mn-lt"/>
          <a:ea typeface="+mn-ea"/>
          <a:cs typeface="+mn-cs"/>
        </a:defRPr>
      </a:lvl2pPr>
      <a:lvl3pPr marL="932667" algn="l" defTabSz="932667" rtl="0" eaLnBrk="1" latinLnBrk="0" hangingPunct="1">
        <a:defRPr sz="1800" kern="1200">
          <a:solidFill>
            <a:schemeClr val="tx1"/>
          </a:solidFill>
          <a:latin typeface="+mn-lt"/>
          <a:ea typeface="+mn-ea"/>
          <a:cs typeface="+mn-cs"/>
        </a:defRPr>
      </a:lvl3pPr>
      <a:lvl4pPr marL="1399001" algn="l" defTabSz="932667" rtl="0" eaLnBrk="1" latinLnBrk="0" hangingPunct="1">
        <a:defRPr sz="1800" kern="1200">
          <a:solidFill>
            <a:schemeClr val="tx1"/>
          </a:solidFill>
          <a:latin typeface="+mn-lt"/>
          <a:ea typeface="+mn-ea"/>
          <a:cs typeface="+mn-cs"/>
        </a:defRPr>
      </a:lvl4pPr>
      <a:lvl5pPr marL="1865334" algn="l" defTabSz="932667" rtl="0" eaLnBrk="1" latinLnBrk="0" hangingPunct="1">
        <a:defRPr sz="1800" kern="1200">
          <a:solidFill>
            <a:schemeClr val="tx1"/>
          </a:solidFill>
          <a:latin typeface="+mn-lt"/>
          <a:ea typeface="+mn-ea"/>
          <a:cs typeface="+mn-cs"/>
        </a:defRPr>
      </a:lvl5pPr>
      <a:lvl6pPr marL="2331670" algn="l" defTabSz="932667" rtl="0" eaLnBrk="1" latinLnBrk="0" hangingPunct="1">
        <a:defRPr sz="1800" kern="1200">
          <a:solidFill>
            <a:schemeClr val="tx1"/>
          </a:solidFill>
          <a:latin typeface="+mn-lt"/>
          <a:ea typeface="+mn-ea"/>
          <a:cs typeface="+mn-cs"/>
        </a:defRPr>
      </a:lvl6pPr>
      <a:lvl7pPr marL="2798002" algn="l" defTabSz="932667" rtl="0" eaLnBrk="1" latinLnBrk="0" hangingPunct="1">
        <a:defRPr sz="1800" kern="1200">
          <a:solidFill>
            <a:schemeClr val="tx1"/>
          </a:solidFill>
          <a:latin typeface="+mn-lt"/>
          <a:ea typeface="+mn-ea"/>
          <a:cs typeface="+mn-cs"/>
        </a:defRPr>
      </a:lvl7pPr>
      <a:lvl8pPr marL="3264336" algn="l" defTabSz="932667" rtl="0" eaLnBrk="1" latinLnBrk="0" hangingPunct="1">
        <a:defRPr sz="1800" kern="1200">
          <a:solidFill>
            <a:schemeClr val="tx1"/>
          </a:solidFill>
          <a:latin typeface="+mn-lt"/>
          <a:ea typeface="+mn-ea"/>
          <a:cs typeface="+mn-cs"/>
        </a:defRPr>
      </a:lvl8pPr>
      <a:lvl9pPr marL="3730670" algn="l" defTabSz="93266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pos="749" userDrawn="1">
          <p15:clr>
            <a:srgbClr val="5ACBF0"/>
          </p15:clr>
        </p15:guide>
        <p15:guide id="4" pos="1325" userDrawn="1">
          <p15:clr>
            <a:srgbClr val="5ACBF0"/>
          </p15:clr>
        </p15:guide>
        <p15:guide id="5" pos="1901" userDrawn="1">
          <p15:clr>
            <a:srgbClr val="5ACBF0"/>
          </p15:clr>
        </p15:guide>
        <p15:guide id="6" pos="2477" userDrawn="1">
          <p15:clr>
            <a:srgbClr val="5ACBF0"/>
          </p15:clr>
        </p15:guide>
        <p15:guide id="7" pos="3053" userDrawn="1">
          <p15:clr>
            <a:srgbClr val="5ACBF0"/>
          </p15:clr>
        </p15:guide>
        <p15:guide id="8" pos="3629" userDrawn="1">
          <p15:clr>
            <a:srgbClr val="5ACBF0"/>
          </p15:clr>
        </p15:guide>
        <p15:guide id="9" pos="4205" userDrawn="1">
          <p15:clr>
            <a:srgbClr val="5ACBF0"/>
          </p15:clr>
        </p15:guide>
        <p15:guide id="10" pos="4781" userDrawn="1">
          <p15:clr>
            <a:srgbClr val="5ACBF0"/>
          </p15:clr>
        </p15:guide>
        <p15:guide id="11" pos="5357" userDrawn="1">
          <p15:clr>
            <a:srgbClr val="5ACBF0"/>
          </p15:clr>
        </p15:guide>
        <p15:guide id="12" pos="5933" userDrawn="1">
          <p15:clr>
            <a:srgbClr val="5ACBF0"/>
          </p15:clr>
        </p15:guide>
        <p15:guide id="13" pos="6509" userDrawn="1">
          <p15:clr>
            <a:srgbClr val="5ACBF0"/>
          </p15:clr>
        </p15:guide>
        <p15:guide id="14" pos="7085" userDrawn="1">
          <p15:clr>
            <a:srgbClr val="5ACBF0"/>
          </p15:clr>
        </p15:guide>
        <p15:guide id="15" pos="7661" userDrawn="1">
          <p15:clr>
            <a:srgbClr val="5ACBF0"/>
          </p15:clr>
        </p15:guide>
        <p15:guide id="16" pos="288" userDrawn="1">
          <p15:clr>
            <a:srgbClr val="C35EA4"/>
          </p15:clr>
        </p15:guide>
        <p15:guide id="17" pos="7546" userDrawn="1">
          <p15:clr>
            <a:srgbClr val="C35EA4"/>
          </p15:clr>
        </p15:guide>
        <p15:guide id="18" orient="horz" pos="763" userDrawn="1">
          <p15:clr>
            <a:srgbClr val="5ACBF0"/>
          </p15:clr>
        </p15:guide>
        <p15:guide id="19" orient="horz" pos="1339" userDrawn="1">
          <p15:clr>
            <a:srgbClr val="5ACBF0"/>
          </p15:clr>
        </p15:guide>
        <p15:guide id="20" orient="horz" pos="1915" userDrawn="1">
          <p15:clr>
            <a:srgbClr val="5ACBF0"/>
          </p15:clr>
        </p15:guide>
        <p15:guide id="21" orient="horz" pos="2491" userDrawn="1">
          <p15:clr>
            <a:srgbClr val="5ACBF0"/>
          </p15:clr>
        </p15:guide>
        <p15:guide id="22" orient="horz" pos="3067" userDrawn="1">
          <p15:clr>
            <a:srgbClr val="5ACBF0"/>
          </p15:clr>
        </p15:guide>
        <p15:guide id="23" orient="horz" pos="3643" userDrawn="1">
          <p15:clr>
            <a:srgbClr val="5ACBF0"/>
          </p15:clr>
        </p15:guide>
        <p15:guide id="24" orient="horz" pos="4219" userDrawn="1">
          <p15:clr>
            <a:srgbClr val="5ACBF0"/>
          </p15:clr>
        </p15:guide>
        <p15:guide id="25" orient="horz" pos="302" userDrawn="1">
          <p15:clr>
            <a:srgbClr val="C35EA4"/>
          </p15:clr>
        </p15:guide>
        <p15:guide id="26" orient="horz" pos="4104" userDrawn="1">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4"/>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022656254"/>
      </p:ext>
    </p:extLst>
  </p:cSld>
  <p:clrMap bg1="lt1" tx1="dk1" bg2="lt2" tx2="dk2" accent1="accent1" accent2="accent2" accent3="accent3" accent4="accent4" accent5="accent5" accent6="accent6" hlink="hlink" folHlink="folHlink"/>
  <p:sldLayoutIdLst>
    <p:sldLayoutId id="2147484287" r:id="rId1"/>
    <p:sldLayoutId id="2147484288" r:id="rId2"/>
    <p:sldLayoutId id="2147484289" r:id="rId3"/>
    <p:sldLayoutId id="2147484290" r:id="rId4"/>
    <p:sldLayoutId id="2147484291" r:id="rId5"/>
    <p:sldLayoutId id="2147484292" r:id="rId6"/>
    <p:sldLayoutId id="2147484293" r:id="rId7"/>
    <p:sldLayoutId id="2147484294" r:id="rId8"/>
    <p:sldLayoutId id="2147484295" r:id="rId9"/>
    <p:sldLayoutId id="2147484296" r:id="rId10"/>
    <p:sldLayoutId id="2147484297" r:id="rId11"/>
    <p:sldLayoutId id="2147484298" r:id="rId12"/>
    <p:sldLayoutId id="2147484299" r:id="rId13"/>
    <p:sldLayoutId id="2147484300" r:id="rId14"/>
    <p:sldLayoutId id="2147484301" r:id="rId15"/>
    <p:sldLayoutId id="2147484302" r:id="rId16"/>
    <p:sldLayoutId id="2147484303" r:id="rId17"/>
    <p:sldLayoutId id="2147484304" r:id="rId18"/>
    <p:sldLayoutId id="2147484305" r:id="rId19"/>
    <p:sldLayoutId id="2147484306" r:id="rId20"/>
    <p:sldLayoutId id="2147484339" r:id="rId21"/>
    <p:sldLayoutId id="2147484340" r:id="rId22"/>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5" cstate="screen">
            <a:extLst>
              <a:ext uri="{28A0092B-C50C-407E-A947-70E740481C1C}">
                <a14:useLocalDpi xmlns:a14="http://schemas.microsoft.com/office/drawing/2010/main"/>
              </a:ext>
            </a:extLst>
          </a:blip>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3499203503"/>
      </p:ext>
    </p:extLst>
  </p:cSld>
  <p:clrMap bg1="lt1" tx1="dk1" bg2="lt2" tx2="dk2" accent1="accent1" accent2="accent2" accent3="accent3" accent4="accent4" accent5="accent5" accent6="accent6" hlink="hlink" folHlink="folHlink"/>
  <p:sldLayoutIdLst>
    <p:sldLayoutId id="2147484309" r:id="rId1"/>
    <p:sldLayoutId id="2147484310" r:id="rId2"/>
    <p:sldLayoutId id="2147484311" r:id="rId3"/>
    <p:sldLayoutId id="2147484312" r:id="rId4"/>
    <p:sldLayoutId id="2147484313" r:id="rId5"/>
    <p:sldLayoutId id="2147484314" r:id="rId6"/>
    <p:sldLayoutId id="2147484315" r:id="rId7"/>
    <p:sldLayoutId id="2147484316" r:id="rId8"/>
    <p:sldLayoutId id="2147484317" r:id="rId9"/>
    <p:sldLayoutId id="2147484318" r:id="rId10"/>
    <p:sldLayoutId id="2147484319" r:id="rId11"/>
    <p:sldLayoutId id="2147484320" r:id="rId12"/>
    <p:sldLayoutId id="2147484321" r:id="rId13"/>
    <p:sldLayoutId id="2147484322" r:id="rId14"/>
    <p:sldLayoutId id="2147484323" r:id="rId15"/>
    <p:sldLayoutId id="2147484324" r:id="rId16"/>
    <p:sldLayoutId id="2147484325" r:id="rId17"/>
    <p:sldLayoutId id="2147484326" r:id="rId18"/>
    <p:sldLayoutId id="2147484327" r:id="rId19"/>
    <p:sldLayoutId id="2147484328" r:id="rId20"/>
    <p:sldLayoutId id="2147484330" r:id="rId21"/>
    <p:sldLayoutId id="2147484331" r:id="rId22"/>
    <p:sldLayoutId id="2147484332" r:id="rId23"/>
    <p:sldLayoutId id="2147484333" r:id="rId24"/>
    <p:sldLayoutId id="2147484334" r:id="rId25"/>
    <p:sldLayoutId id="2147484335" r:id="rId26"/>
    <p:sldLayoutId id="2147484336" r:id="rId27"/>
    <p:sldLayoutId id="2147484337" r:id="rId28"/>
    <p:sldLayoutId id="2147484338" r:id="rId29"/>
    <p:sldLayoutId id="2147484341" r:id="rId30"/>
    <p:sldLayoutId id="2147484342" r:id="rId31"/>
    <p:sldLayoutId id="2147484343" r:id="rId32"/>
    <p:sldLayoutId id="2147484436" r:id="rId33"/>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sp>
        <p:nvSpPr>
          <p:cNvPr id="8" name="Rectangle 7"/>
          <p:cNvSpPr/>
          <p:nvPr/>
        </p:nvSpPr>
        <p:spPr>
          <a:xfrm>
            <a:off x="0" y="2059679"/>
            <a:ext cx="12436475" cy="4187680"/>
          </a:xfrm>
          <a:prstGeom prst="rect">
            <a:avLst/>
          </a:prstGeom>
          <a:gradFill flip="none" rotWithShape="1">
            <a:gsLst>
              <a:gs pos="0">
                <a:schemeClr val="bg2">
                  <a:alpha val="0"/>
                </a:schemeClr>
              </a:gs>
              <a:gs pos="100000">
                <a:schemeClr val="bg2"/>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sp>
      <p:pic>
        <p:nvPicPr>
          <p:cNvPr id="7" name="Picture 6"/>
          <p:cNvPicPr>
            <a:picLocks noChangeAspect="1"/>
          </p:cNvPicPr>
          <p:nvPr/>
        </p:nvPicPr>
        <p:blipFill rotWithShape="1">
          <a:blip r:embed="rId15">
            <a:extLst>
              <a:ext uri="{28A0092B-C50C-407E-A947-70E740481C1C}">
                <a14:useLocalDpi xmlns:a14="http://schemas.microsoft.com/office/drawing/2010/main" val="0"/>
              </a:ext>
            </a:extLst>
          </a:blip>
          <a:srcRect t="1538" b="-1538"/>
          <a:stretch/>
        </p:blipFill>
        <p:spPr bwMode="black">
          <a:xfrm>
            <a:off x="0" y="6248442"/>
            <a:ext cx="12436475" cy="757740"/>
          </a:xfrm>
          <a:prstGeom prst="rect">
            <a:avLst/>
          </a:prstGeom>
        </p:spPr>
      </p:pic>
      <p:sp>
        <p:nvSpPr>
          <p:cNvPr id="2" name="Title Placeholder 1"/>
          <p:cNvSpPr>
            <a:spLocks noGrp="1"/>
          </p:cNvSpPr>
          <p:nvPr>
            <p:ph type="title"/>
          </p:nvPr>
        </p:nvSpPr>
        <p:spPr>
          <a:xfrm>
            <a:off x="1480687" y="820535"/>
            <a:ext cx="9795841" cy="1070123"/>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1480687" y="2055860"/>
            <a:ext cx="9795841" cy="3519306"/>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7705615" y="336948"/>
            <a:ext cx="3570912" cy="315356"/>
          </a:xfrm>
          <a:prstGeom prst="rect">
            <a:avLst/>
          </a:prstGeom>
        </p:spPr>
        <p:txBody>
          <a:bodyPr vert="horz" lIns="91440" tIns="45720" rIns="91440" bIns="45720" rtlCol="0" anchor="ctr"/>
          <a:lstStyle>
            <a:lvl1pPr algn="r">
              <a:defRPr sz="1020">
                <a:solidFill>
                  <a:schemeClr val="tx1">
                    <a:tint val="75000"/>
                  </a:schemeClr>
                </a:solidFill>
              </a:defRPr>
            </a:lvl1pPr>
          </a:lstStyle>
          <a:p>
            <a:fld id="{48A87A34-81AB-432B-8DAE-1953F412C126}" type="datetimeFigureOut">
              <a:rPr lang="en-US" dirty="0"/>
              <a:pPr/>
              <a:t>8/31/2018</a:t>
            </a:fld>
            <a:endParaRPr lang="en-US" dirty="0"/>
          </a:p>
        </p:txBody>
      </p:sp>
      <p:sp>
        <p:nvSpPr>
          <p:cNvPr id="5" name="Footer Placeholder 4"/>
          <p:cNvSpPr>
            <a:spLocks noGrp="1"/>
          </p:cNvSpPr>
          <p:nvPr>
            <p:ph type="ftr" sz="quarter" idx="3"/>
          </p:nvPr>
        </p:nvSpPr>
        <p:spPr>
          <a:xfrm>
            <a:off x="1480686" y="335863"/>
            <a:ext cx="6057922" cy="315356"/>
          </a:xfrm>
          <a:prstGeom prst="rect">
            <a:avLst/>
          </a:prstGeom>
        </p:spPr>
        <p:txBody>
          <a:bodyPr vert="horz" lIns="91440" tIns="45720" rIns="91440" bIns="45720" rtlCol="0" anchor="ctr"/>
          <a:lstStyle>
            <a:lvl1pPr algn="l">
              <a:defRPr sz="102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489687" y="814878"/>
            <a:ext cx="827282" cy="513603"/>
          </a:xfrm>
          <a:prstGeom prst="rect">
            <a:avLst/>
          </a:prstGeom>
        </p:spPr>
        <p:txBody>
          <a:bodyPr vert="horz" lIns="91440" tIns="45720" rIns="91440" bIns="45720" rtlCol="0" anchor="t"/>
          <a:lstStyle>
            <a:lvl1pPr algn="r">
              <a:defRPr sz="2856">
                <a:solidFill>
                  <a:schemeClr val="accent1"/>
                </a:solidFill>
              </a:defRPr>
            </a:lvl1pPr>
          </a:lstStyle>
          <a:p>
            <a:fld id="{6D22F896-40B5-4ADD-8801-0D06FADFA095}" type="slidenum">
              <a:rPr lang="en-US" dirty="0"/>
              <a:pPr/>
              <a:t>‹#›</a:t>
            </a:fld>
            <a:endParaRPr lang="en-US" dirty="0"/>
          </a:p>
        </p:txBody>
      </p:sp>
      <p:cxnSp>
        <p:nvCxnSpPr>
          <p:cNvPr id="10" name="Straight Connector 9"/>
          <p:cNvCxnSpPr/>
          <p:nvPr/>
        </p:nvCxnSpPr>
        <p:spPr>
          <a:xfrm>
            <a:off x="0" y="6250414"/>
            <a:ext cx="12436475" cy="0"/>
          </a:xfrm>
          <a:prstGeom prst="line">
            <a:avLst/>
          </a:prstGeom>
          <a:ln w="12700">
            <a:solidFill>
              <a:srgbClr val="000001">
                <a:alpha val="20000"/>
              </a:srgbClr>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B6A1E93D-9CC6-448C-A6F8-713A183D9529}"/>
              </a:ext>
            </a:extLst>
          </p:cNvPr>
          <p:cNvPicPr>
            <a:picLocks noChangeAspect="1"/>
          </p:cNvPicPr>
          <p:nvPr userDrawn="1"/>
        </p:nvPicPr>
        <p:blipFill>
          <a:blip r:embed="rId16" cstate="screen">
            <a:extLst>
              <a:ext uri="{28A0092B-C50C-407E-A947-70E740481C1C}">
                <a14:useLocalDpi xmlns:a14="http://schemas.microsoft.com/office/drawing/2010/main"/>
              </a:ext>
            </a:extLst>
          </a:blip>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3858916465"/>
      </p:ext>
    </p:extLst>
  </p:cSld>
  <p:clrMap bg1="lt1" tx1="dk1" bg2="lt2" tx2="dk2" accent1="accent1" accent2="accent2" accent3="accent3" accent4="accent4" accent5="accent5" accent6="accent6" hlink="hlink" folHlink="folHlink"/>
  <p:sldLayoutIdLst>
    <p:sldLayoutId id="2147484622" r:id="rId1"/>
    <p:sldLayoutId id="2147484623" r:id="rId2"/>
    <p:sldLayoutId id="2147484624" r:id="rId3"/>
    <p:sldLayoutId id="2147484625" r:id="rId4"/>
    <p:sldLayoutId id="2147484626" r:id="rId5"/>
    <p:sldLayoutId id="2147484627" r:id="rId6"/>
    <p:sldLayoutId id="2147484628" r:id="rId7"/>
    <p:sldLayoutId id="2147484629" r:id="rId8"/>
    <p:sldLayoutId id="2147484630" r:id="rId9"/>
    <p:sldLayoutId id="2147484631" r:id="rId10"/>
    <p:sldLayoutId id="2147484632" r:id="rId11"/>
    <p:sldLayoutId id="2147484633" r:id="rId12"/>
    <p:sldLayoutId id="2147484634" r:id="rId13"/>
  </p:sldLayoutIdLst>
  <p:transition>
    <p:fade/>
  </p:transition>
  <p:txStyles>
    <p:titleStyle>
      <a:lvl1pPr algn="l" defTabSz="932597" rtl="0" eaLnBrk="1" latinLnBrk="0" hangingPunct="1">
        <a:lnSpc>
          <a:spcPct val="90000"/>
        </a:lnSpc>
        <a:spcBef>
          <a:spcPct val="0"/>
        </a:spcBef>
        <a:buNone/>
        <a:defRPr sz="3264" b="0" i="0" kern="1200" cap="all">
          <a:solidFill>
            <a:schemeClr val="tx1"/>
          </a:solidFill>
          <a:effectLst/>
          <a:latin typeface="+mj-lt"/>
          <a:ea typeface="+mj-ea"/>
          <a:cs typeface="+mj-cs"/>
        </a:defRPr>
      </a:lvl1pPr>
    </p:titleStyle>
    <p:bodyStyle>
      <a:lvl1pPr marL="233149" indent="-233149" algn="l" defTabSz="932597" rtl="0" eaLnBrk="1" latinLnBrk="0" hangingPunct="1">
        <a:lnSpc>
          <a:spcPct val="120000"/>
        </a:lnSpc>
        <a:spcBef>
          <a:spcPts val="1020"/>
        </a:spcBef>
        <a:buClr>
          <a:schemeClr val="accent1"/>
        </a:buClr>
        <a:buSzPct val="100000"/>
        <a:buFont typeface="Arial" panose="020B0604020202020204" pitchFamily="34" charset="0"/>
        <a:buChar char="•"/>
        <a:defRPr sz="2040" kern="1200">
          <a:solidFill>
            <a:schemeClr val="tx1"/>
          </a:solidFill>
          <a:effectLst/>
          <a:latin typeface="+mn-lt"/>
          <a:ea typeface="+mn-ea"/>
          <a:cs typeface="+mn-cs"/>
        </a:defRPr>
      </a:lvl1pPr>
      <a:lvl2pPr marL="699447" indent="-233149" algn="l" defTabSz="932597" rtl="0" eaLnBrk="1" latinLnBrk="0" hangingPunct="1">
        <a:lnSpc>
          <a:spcPct val="120000"/>
        </a:lnSpc>
        <a:spcBef>
          <a:spcPts val="510"/>
        </a:spcBef>
        <a:buClr>
          <a:schemeClr val="accent1"/>
        </a:buClr>
        <a:buSzPct val="100000"/>
        <a:buFont typeface="Arial" panose="020B0604020202020204" pitchFamily="34" charset="0"/>
        <a:buChar char="•"/>
        <a:defRPr sz="1836" kern="1200" cap="none" baseline="0">
          <a:solidFill>
            <a:schemeClr val="tx1"/>
          </a:solidFill>
          <a:effectLst/>
          <a:latin typeface="+mn-lt"/>
          <a:ea typeface="+mn-ea"/>
          <a:cs typeface="+mn-cs"/>
        </a:defRPr>
      </a:lvl2pPr>
      <a:lvl3pPr marL="1165746" indent="-233149" algn="l" defTabSz="932597" rtl="0" eaLnBrk="1" latinLnBrk="0" hangingPunct="1">
        <a:lnSpc>
          <a:spcPct val="120000"/>
        </a:lnSpc>
        <a:spcBef>
          <a:spcPts val="510"/>
        </a:spcBef>
        <a:buClr>
          <a:schemeClr val="accent1"/>
        </a:buClr>
        <a:buSzPct val="100000"/>
        <a:buFont typeface="Arial" panose="020B0604020202020204" pitchFamily="34" charset="0"/>
        <a:buChar char="•"/>
        <a:defRPr sz="1632" kern="1200">
          <a:solidFill>
            <a:schemeClr val="tx1"/>
          </a:solidFill>
          <a:effectLst/>
          <a:latin typeface="+mn-lt"/>
          <a:ea typeface="+mn-ea"/>
          <a:cs typeface="+mn-cs"/>
        </a:defRPr>
      </a:lvl3pPr>
      <a:lvl4pPr marL="1632044" indent="-233149" algn="l" defTabSz="932597" rtl="0" eaLnBrk="1" latinLnBrk="0" hangingPunct="1">
        <a:lnSpc>
          <a:spcPct val="120000"/>
        </a:lnSpc>
        <a:spcBef>
          <a:spcPts val="510"/>
        </a:spcBef>
        <a:buClr>
          <a:schemeClr val="accent1"/>
        </a:buClr>
        <a:buSzPct val="100000"/>
        <a:buFont typeface="Arial" panose="020B0604020202020204" pitchFamily="34" charset="0"/>
        <a:buChar char="•"/>
        <a:defRPr sz="1428" kern="1200" cap="none" baseline="0">
          <a:solidFill>
            <a:schemeClr val="tx1"/>
          </a:solidFill>
          <a:effectLst/>
          <a:latin typeface="+mn-lt"/>
          <a:ea typeface="+mn-ea"/>
          <a:cs typeface="+mn-cs"/>
        </a:defRPr>
      </a:lvl4pPr>
      <a:lvl5pPr marL="2098342" indent="-233149" algn="l" defTabSz="932597" rtl="0" eaLnBrk="1" latinLnBrk="0" hangingPunct="1">
        <a:lnSpc>
          <a:spcPct val="120000"/>
        </a:lnSpc>
        <a:spcBef>
          <a:spcPts val="510"/>
        </a:spcBef>
        <a:buClr>
          <a:schemeClr val="accent1"/>
        </a:buClr>
        <a:buSzPct val="100000"/>
        <a:buFont typeface="Arial" panose="020B0604020202020204" pitchFamily="34" charset="0"/>
        <a:buChar char="•"/>
        <a:defRPr sz="1224" kern="1200">
          <a:solidFill>
            <a:schemeClr val="tx1"/>
          </a:solidFill>
          <a:effectLst/>
          <a:latin typeface="+mn-lt"/>
          <a:ea typeface="+mn-ea"/>
          <a:cs typeface="+mn-cs"/>
        </a:defRPr>
      </a:lvl5pPr>
      <a:lvl6pPr marL="2564641" indent="-233149" algn="l" defTabSz="932597" rtl="0" eaLnBrk="1" latinLnBrk="0" hangingPunct="1">
        <a:lnSpc>
          <a:spcPct val="120000"/>
        </a:lnSpc>
        <a:spcBef>
          <a:spcPts val="510"/>
        </a:spcBef>
        <a:buClr>
          <a:schemeClr val="accent1"/>
        </a:buClr>
        <a:buSzPct val="100000"/>
        <a:buFont typeface="Arial" panose="020B0604020202020204" pitchFamily="34" charset="0"/>
        <a:buChar char="•"/>
        <a:defRPr sz="1224" kern="1200">
          <a:solidFill>
            <a:schemeClr val="tx1"/>
          </a:solidFill>
          <a:effectLst/>
          <a:latin typeface="+mn-lt"/>
          <a:ea typeface="+mn-ea"/>
          <a:cs typeface="+mn-cs"/>
        </a:defRPr>
      </a:lvl6pPr>
      <a:lvl7pPr marL="3030939" indent="-233149" algn="l" defTabSz="932597" rtl="0" eaLnBrk="1" latinLnBrk="0" hangingPunct="1">
        <a:lnSpc>
          <a:spcPct val="120000"/>
        </a:lnSpc>
        <a:spcBef>
          <a:spcPts val="510"/>
        </a:spcBef>
        <a:buClr>
          <a:schemeClr val="accent1"/>
        </a:buClr>
        <a:buSzPct val="100000"/>
        <a:buFont typeface="Arial" panose="020B0604020202020204" pitchFamily="34" charset="0"/>
        <a:buChar char="•"/>
        <a:defRPr sz="1224" kern="1200">
          <a:solidFill>
            <a:schemeClr val="tx1"/>
          </a:solidFill>
          <a:effectLst/>
          <a:latin typeface="+mn-lt"/>
          <a:ea typeface="+mn-ea"/>
          <a:cs typeface="+mn-cs"/>
        </a:defRPr>
      </a:lvl7pPr>
      <a:lvl8pPr marL="3497237" indent="-233149" algn="l" defTabSz="932597" rtl="0" eaLnBrk="1" latinLnBrk="0" hangingPunct="1">
        <a:lnSpc>
          <a:spcPct val="120000"/>
        </a:lnSpc>
        <a:spcBef>
          <a:spcPts val="510"/>
        </a:spcBef>
        <a:buClr>
          <a:schemeClr val="accent1"/>
        </a:buClr>
        <a:buSzPct val="100000"/>
        <a:buFont typeface="Arial" panose="020B0604020202020204" pitchFamily="34" charset="0"/>
        <a:buChar char="•"/>
        <a:defRPr sz="1224" kern="1200" baseline="0">
          <a:solidFill>
            <a:schemeClr val="tx1"/>
          </a:solidFill>
          <a:effectLst/>
          <a:latin typeface="+mn-lt"/>
          <a:ea typeface="+mn-ea"/>
          <a:cs typeface="+mn-cs"/>
        </a:defRPr>
      </a:lvl8pPr>
      <a:lvl9pPr marL="3963535" indent="-233149" algn="l" defTabSz="932597" rtl="0" eaLnBrk="1" latinLnBrk="0" hangingPunct="1">
        <a:lnSpc>
          <a:spcPct val="120000"/>
        </a:lnSpc>
        <a:spcBef>
          <a:spcPts val="510"/>
        </a:spcBef>
        <a:buClr>
          <a:schemeClr val="accent1"/>
        </a:buClr>
        <a:buSzPct val="100000"/>
        <a:buFont typeface="Arial" panose="020B0604020202020204" pitchFamily="34" charset="0"/>
        <a:buChar char="•"/>
        <a:defRPr sz="1224" kern="1200" baseline="0">
          <a:solidFill>
            <a:schemeClr val="tx1"/>
          </a:solidFill>
          <a:effectLst/>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hyperlink" Target="https://vishalkhatal.wordpress.com/" TargetMode="External"/><Relationship Id="rId2" Type="http://schemas.openxmlformats.org/officeDocument/2006/relationships/image" Target="../media/image15.jpg"/><Relationship Id="rId1" Type="http://schemas.openxmlformats.org/officeDocument/2006/relationships/slideLayout" Target="../slideLayouts/slideLayout95.xml"/><Relationship Id="rId4" Type="http://schemas.openxmlformats.org/officeDocument/2006/relationships/image" Target="../media/image16.png"/></Relationships>
</file>

<file path=ppt/slides/_rels/slide2.xml.rels><?xml version="1.0" encoding="UTF-8" standalone="yes"?>
<Relationships xmlns="http://schemas.openxmlformats.org/package/2006/relationships"><Relationship Id="rId8" Type="http://schemas.openxmlformats.org/officeDocument/2006/relationships/tags" Target="../tags/tag10.xml"/><Relationship Id="rId13" Type="http://schemas.openxmlformats.org/officeDocument/2006/relationships/tags" Target="../tags/tag15.xml"/><Relationship Id="rId18" Type="http://schemas.openxmlformats.org/officeDocument/2006/relationships/tags" Target="../tags/tag20.xml"/><Relationship Id="rId26" Type="http://schemas.openxmlformats.org/officeDocument/2006/relationships/tags" Target="../tags/tag28.xml"/><Relationship Id="rId39" Type="http://schemas.openxmlformats.org/officeDocument/2006/relationships/image" Target="../media/image17.emf"/><Relationship Id="rId3" Type="http://schemas.openxmlformats.org/officeDocument/2006/relationships/tags" Target="../tags/tag5.xml"/><Relationship Id="rId21" Type="http://schemas.openxmlformats.org/officeDocument/2006/relationships/tags" Target="../tags/tag23.xml"/><Relationship Id="rId34" Type="http://schemas.openxmlformats.org/officeDocument/2006/relationships/tags" Target="../tags/tag36.xml"/><Relationship Id="rId7" Type="http://schemas.openxmlformats.org/officeDocument/2006/relationships/tags" Target="../tags/tag9.xml"/><Relationship Id="rId12" Type="http://schemas.openxmlformats.org/officeDocument/2006/relationships/tags" Target="../tags/tag14.xml"/><Relationship Id="rId17" Type="http://schemas.openxmlformats.org/officeDocument/2006/relationships/tags" Target="../tags/tag19.xml"/><Relationship Id="rId25" Type="http://schemas.openxmlformats.org/officeDocument/2006/relationships/tags" Target="../tags/tag27.xml"/><Relationship Id="rId33" Type="http://schemas.openxmlformats.org/officeDocument/2006/relationships/tags" Target="../tags/tag35.xml"/><Relationship Id="rId38" Type="http://schemas.openxmlformats.org/officeDocument/2006/relationships/notesSlide" Target="../notesSlides/notesSlide1.xml"/><Relationship Id="rId2" Type="http://schemas.openxmlformats.org/officeDocument/2006/relationships/tags" Target="../tags/tag4.xml"/><Relationship Id="rId16" Type="http://schemas.openxmlformats.org/officeDocument/2006/relationships/tags" Target="../tags/tag18.xml"/><Relationship Id="rId20" Type="http://schemas.openxmlformats.org/officeDocument/2006/relationships/tags" Target="../tags/tag22.xml"/><Relationship Id="rId29" Type="http://schemas.openxmlformats.org/officeDocument/2006/relationships/tags" Target="../tags/tag31.xml"/><Relationship Id="rId1" Type="http://schemas.openxmlformats.org/officeDocument/2006/relationships/tags" Target="../tags/tag3.xml"/><Relationship Id="rId6" Type="http://schemas.openxmlformats.org/officeDocument/2006/relationships/tags" Target="../tags/tag8.xml"/><Relationship Id="rId11" Type="http://schemas.openxmlformats.org/officeDocument/2006/relationships/tags" Target="../tags/tag13.xml"/><Relationship Id="rId24" Type="http://schemas.openxmlformats.org/officeDocument/2006/relationships/tags" Target="../tags/tag26.xml"/><Relationship Id="rId32" Type="http://schemas.openxmlformats.org/officeDocument/2006/relationships/tags" Target="../tags/tag34.xml"/><Relationship Id="rId37" Type="http://schemas.openxmlformats.org/officeDocument/2006/relationships/slideLayout" Target="../slideLayouts/slideLayout96.xml"/><Relationship Id="rId40" Type="http://schemas.openxmlformats.org/officeDocument/2006/relationships/image" Target="../media/image18.png"/><Relationship Id="rId5" Type="http://schemas.openxmlformats.org/officeDocument/2006/relationships/tags" Target="../tags/tag7.xml"/><Relationship Id="rId15" Type="http://schemas.openxmlformats.org/officeDocument/2006/relationships/tags" Target="../tags/tag17.xml"/><Relationship Id="rId23" Type="http://schemas.openxmlformats.org/officeDocument/2006/relationships/tags" Target="../tags/tag25.xml"/><Relationship Id="rId28" Type="http://schemas.openxmlformats.org/officeDocument/2006/relationships/tags" Target="../tags/tag30.xml"/><Relationship Id="rId36" Type="http://schemas.openxmlformats.org/officeDocument/2006/relationships/tags" Target="../tags/tag38.xml"/><Relationship Id="rId10" Type="http://schemas.openxmlformats.org/officeDocument/2006/relationships/tags" Target="../tags/tag12.xml"/><Relationship Id="rId19" Type="http://schemas.openxmlformats.org/officeDocument/2006/relationships/tags" Target="../tags/tag21.xml"/><Relationship Id="rId31" Type="http://schemas.openxmlformats.org/officeDocument/2006/relationships/tags" Target="../tags/tag33.xml"/><Relationship Id="rId4" Type="http://schemas.openxmlformats.org/officeDocument/2006/relationships/tags" Target="../tags/tag6.xml"/><Relationship Id="rId9" Type="http://schemas.openxmlformats.org/officeDocument/2006/relationships/tags" Target="../tags/tag11.xml"/><Relationship Id="rId14" Type="http://schemas.openxmlformats.org/officeDocument/2006/relationships/tags" Target="../tags/tag16.xml"/><Relationship Id="rId22" Type="http://schemas.openxmlformats.org/officeDocument/2006/relationships/tags" Target="../tags/tag24.xml"/><Relationship Id="rId27" Type="http://schemas.openxmlformats.org/officeDocument/2006/relationships/tags" Target="../tags/tag29.xml"/><Relationship Id="rId30" Type="http://schemas.openxmlformats.org/officeDocument/2006/relationships/tags" Target="../tags/tag32.xml"/><Relationship Id="rId35" Type="http://schemas.openxmlformats.org/officeDocument/2006/relationships/tags" Target="../tags/tag37.xml"/></Relationships>
</file>

<file path=ppt/slides/_rels/slide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xml"/><Relationship Id="rId1" Type="http://schemas.openxmlformats.org/officeDocument/2006/relationships/slideLayout" Target="../slideLayouts/slideLayout85.xml"/></Relationships>
</file>

<file path=ppt/slides/_rels/slide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3.xml"/><Relationship Id="rId1" Type="http://schemas.openxmlformats.org/officeDocument/2006/relationships/slideLayout" Target="../slideLayouts/slideLayout85.xml"/></Relationships>
</file>

<file path=ppt/slides/_rels/slide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4.xml"/><Relationship Id="rId1" Type="http://schemas.openxmlformats.org/officeDocument/2006/relationships/slideLayout" Target="../slideLayouts/slideLayout85.xml"/></Relationships>
</file>

<file path=ppt/slides/_rels/slide6.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notesSlide" Target="../notesSlides/notesSlide5.xml"/><Relationship Id="rId1" Type="http://schemas.openxmlformats.org/officeDocument/2006/relationships/slideLayout" Target="../slideLayouts/slideLayout85.xml"/></Relationships>
</file>

<file path=ppt/slides/_rels/slide7.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tags" Target="../tags/tag41.xml"/><Relationship Id="rId7" Type="http://schemas.openxmlformats.org/officeDocument/2006/relationships/image" Target="../media/image23.png"/><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notesSlide" Target="../notesSlides/notesSlide6.xml"/><Relationship Id="rId5" Type="http://schemas.openxmlformats.org/officeDocument/2006/relationships/slideLayout" Target="../slideLayouts/slideLayout85.xml"/><Relationship Id="rId4" Type="http://schemas.openxmlformats.org/officeDocument/2006/relationships/tags" Target="../tags/tag42.xml"/><Relationship Id="rId9" Type="http://schemas.openxmlformats.org/officeDocument/2006/relationships/image" Target="../media/image25.png"/></Relationships>
</file>

<file path=ppt/slides/_rels/slide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7.xml"/><Relationship Id="rId1" Type="http://schemas.openxmlformats.org/officeDocument/2006/relationships/slideLayout" Target="../slideLayouts/slideLayout85.xml"/></Relationships>
</file>

<file path=ppt/slides/slide1.xml><?xml version="1.0" encoding="utf-8"?>
<p:sld xmlns:a="http://schemas.openxmlformats.org/drawingml/2006/main" xmlns:r="http://schemas.openxmlformats.org/officeDocument/2006/relationships" xmlns:p="http://schemas.openxmlformats.org/presentationml/2006/main">
  <p:cSld>
    <p:bg>
      <p:bgPr>
        <a:gradFill rotWithShape="1">
          <a:gsLst>
            <a:gs pos="0">
              <a:schemeClr val="bg2">
                <a:tint val="94000"/>
                <a:satMod val="80000"/>
                <a:lumMod val="106000"/>
              </a:schemeClr>
            </a:gs>
            <a:gs pos="100000">
              <a:schemeClr val="bg2">
                <a:shade val="80000"/>
              </a:schemeClr>
            </a:gs>
          </a:gsLst>
          <a:path path="circle">
            <a:fillToRect l="43000" r="43000" b="100000"/>
          </a:path>
        </a:gradFill>
        <a:effectLst/>
      </p:bgPr>
    </p:bg>
    <p:spTree>
      <p:nvGrpSpPr>
        <p:cNvPr id="1" name=""/>
        <p:cNvGrpSpPr/>
        <p:nvPr/>
      </p:nvGrpSpPr>
      <p:grpSpPr>
        <a:xfrm>
          <a:off x="0" y="0"/>
          <a:ext cx="0" cy="0"/>
          <a:chOff x="0" y="0"/>
          <a:chExt cx="0" cy="0"/>
        </a:xfrm>
      </p:grpSpPr>
      <p:sp>
        <p:nvSpPr>
          <p:cNvPr id="139" name="Rectangle 114">
            <a:extLst>
              <a:ext uri="{FF2B5EF4-FFF2-40B4-BE49-F238E27FC236}">
                <a16:creationId xmlns:a16="http://schemas.microsoft.com/office/drawing/2014/main" id="{0CABCAE3-64FC-4149-819F-2C181282415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2059678"/>
            <a:ext cx="12436475" cy="4187680"/>
          </a:xfrm>
          <a:prstGeom prst="rect">
            <a:avLst/>
          </a:prstGeom>
          <a:gradFill flip="none" rotWithShape="1">
            <a:gsLst>
              <a:gs pos="0">
                <a:schemeClr val="bg2">
                  <a:alpha val="0"/>
                </a:schemeClr>
              </a:gs>
              <a:gs pos="100000">
                <a:schemeClr val="bg2"/>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sp>
      <p:pic>
        <p:nvPicPr>
          <p:cNvPr id="140" name="Picture 116">
            <a:extLst>
              <a:ext uri="{FF2B5EF4-FFF2-40B4-BE49-F238E27FC236}">
                <a16:creationId xmlns:a16="http://schemas.microsoft.com/office/drawing/2014/main" id="{012FDCFE-9AD2-4D8A-8CBF-B3AA37EBF6DD}"/>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rotWithShape="1">
          <a:blip r:embed="rId2">
            <a:extLst>
              <a:ext uri="{28A0092B-C50C-407E-A947-70E740481C1C}">
                <a14:useLocalDpi xmlns:a14="http://schemas.microsoft.com/office/drawing/2010/main" val="0"/>
              </a:ext>
            </a:extLst>
          </a:blip>
          <a:srcRect t="1538" b="-1538"/>
          <a:stretch/>
        </p:blipFill>
        <p:spPr bwMode="black">
          <a:xfrm>
            <a:off x="0" y="6248442"/>
            <a:ext cx="12436475" cy="757740"/>
          </a:xfrm>
          <a:prstGeom prst="rect">
            <a:avLst/>
          </a:prstGeom>
        </p:spPr>
      </p:pic>
      <p:cxnSp>
        <p:nvCxnSpPr>
          <p:cNvPr id="141" name="Straight Connector 118">
            <a:extLst>
              <a:ext uri="{FF2B5EF4-FFF2-40B4-BE49-F238E27FC236}">
                <a16:creationId xmlns:a16="http://schemas.microsoft.com/office/drawing/2014/main" id="{FBD463FC-4CA8-4FF4-85A3-AF9F4B98D210}"/>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0" y="6250413"/>
            <a:ext cx="12436475" cy="0"/>
          </a:xfrm>
          <a:prstGeom prst="line">
            <a:avLst/>
          </a:prstGeom>
          <a:ln w="12700">
            <a:solidFill>
              <a:srgbClr val="000001">
                <a:alpha val="20000"/>
              </a:srgbClr>
            </a:solidFill>
          </a:ln>
        </p:spPr>
        <p:style>
          <a:lnRef idx="1">
            <a:schemeClr val="accent1"/>
          </a:lnRef>
          <a:fillRef idx="0">
            <a:schemeClr val="accent1"/>
          </a:fillRef>
          <a:effectRef idx="0">
            <a:schemeClr val="accent1"/>
          </a:effectRef>
          <a:fontRef idx="minor">
            <a:schemeClr val="tx1"/>
          </a:fontRef>
        </p:style>
      </p:cxnSp>
      <p:cxnSp>
        <p:nvCxnSpPr>
          <p:cNvPr id="142" name="Straight Connector 120">
            <a:extLst>
              <a:ext uri="{FF2B5EF4-FFF2-40B4-BE49-F238E27FC236}">
                <a16:creationId xmlns:a16="http://schemas.microsoft.com/office/drawing/2014/main" id="{A56012FD-74A8-4C91-B318-435CF2B71927}"/>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483049" y="1883858"/>
            <a:ext cx="9800173" cy="0"/>
          </a:xfrm>
          <a:prstGeom prst="line">
            <a:avLst/>
          </a:prstGeom>
          <a:ln w="31750"/>
        </p:spPr>
        <p:style>
          <a:lnRef idx="3">
            <a:schemeClr val="accent1"/>
          </a:lnRef>
          <a:fillRef idx="0">
            <a:schemeClr val="accent1"/>
          </a:fillRef>
          <a:effectRef idx="2">
            <a:schemeClr val="accent1"/>
          </a:effectRef>
          <a:fontRef idx="minor">
            <a:schemeClr val="tx1"/>
          </a:fontRef>
        </p:style>
      </p:cxnSp>
      <p:sp useBgFill="1">
        <p:nvSpPr>
          <p:cNvPr id="143" name="Rectangle 122">
            <a:extLst>
              <a:ext uri="{FF2B5EF4-FFF2-40B4-BE49-F238E27FC236}">
                <a16:creationId xmlns:a16="http://schemas.microsoft.com/office/drawing/2014/main" id="{1C2A4B30-77D7-4FFB-8B53-A88BD68CABD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 y="0"/>
            <a:ext cx="12436163" cy="69945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3"/>
          <p:cNvSpPr>
            <a:spLocks noGrp="1"/>
          </p:cNvSpPr>
          <p:nvPr>
            <p:ph type="title"/>
          </p:nvPr>
        </p:nvSpPr>
        <p:spPr>
          <a:xfrm>
            <a:off x="1480687" y="820534"/>
            <a:ext cx="5744086" cy="1070123"/>
          </a:xfrm>
        </p:spPr>
        <p:txBody>
          <a:bodyPr vert="horz" lIns="91440" tIns="45720" rIns="91440" bIns="45720" rtlCol="0" anchor="t">
            <a:normAutofit/>
          </a:bodyPr>
          <a:lstStyle/>
          <a:p>
            <a:pPr defTabSz="914400"/>
            <a:r>
              <a:rPr lang="en-US" sz="2800" b="1" dirty="0">
                <a:solidFill>
                  <a:schemeClr val="tx1"/>
                </a:solidFill>
              </a:rPr>
              <a:t>Designing IOT application </a:t>
            </a:r>
          </a:p>
        </p:txBody>
      </p:sp>
      <p:cxnSp>
        <p:nvCxnSpPr>
          <p:cNvPr id="144" name="Straight Connector 124">
            <a:extLst>
              <a:ext uri="{FF2B5EF4-FFF2-40B4-BE49-F238E27FC236}">
                <a16:creationId xmlns:a16="http://schemas.microsoft.com/office/drawing/2014/main" id="{373AAE2E-5D6B-4952-A4BB-546C49F8DE4B}"/>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480686" y="1890657"/>
            <a:ext cx="4411839" cy="0"/>
          </a:xfrm>
          <a:prstGeom prst="line">
            <a:avLst/>
          </a:prstGeom>
          <a:ln w="31750"/>
        </p:spPr>
        <p:style>
          <a:lnRef idx="3">
            <a:schemeClr val="accent1"/>
          </a:lnRef>
          <a:fillRef idx="0">
            <a:schemeClr val="accent1"/>
          </a:fillRef>
          <a:effectRef idx="2">
            <a:schemeClr val="accent1"/>
          </a:effectRef>
          <a:fontRef idx="minor">
            <a:schemeClr val="tx1"/>
          </a:fontRef>
        </p:style>
      </p:cxnSp>
      <p:sp>
        <p:nvSpPr>
          <p:cNvPr id="145" name="Rectangle 126">
            <a:extLst>
              <a:ext uri="{FF2B5EF4-FFF2-40B4-BE49-F238E27FC236}">
                <a16:creationId xmlns:a16="http://schemas.microsoft.com/office/drawing/2014/main" id="{01E4D783-AD45-49E7-B6C7-BBACB829068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2059678"/>
            <a:ext cx="12436475" cy="4934847"/>
          </a:xfrm>
          <a:prstGeom prst="rect">
            <a:avLst/>
          </a:prstGeom>
          <a:gradFill flip="none" rotWithShape="1">
            <a:gsLst>
              <a:gs pos="0">
                <a:schemeClr val="bg2">
                  <a:alpha val="0"/>
                </a:schemeClr>
              </a:gs>
              <a:gs pos="100000">
                <a:schemeClr val="bg2"/>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68" name="Text Placeholder 4"/>
          <p:cNvSpPr>
            <a:spLocks noGrp="1"/>
          </p:cNvSpPr>
          <p:nvPr>
            <p:ph type="body" sz="quarter" idx="12"/>
          </p:nvPr>
        </p:nvSpPr>
        <p:spPr>
          <a:xfrm>
            <a:off x="1159951" y="2055859"/>
            <a:ext cx="5744086" cy="4155279"/>
          </a:xfrm>
        </p:spPr>
        <p:txBody>
          <a:bodyPr vert="horz" lIns="91440" tIns="45720" rIns="91440" bIns="45720" rtlCol="0" anchor="t">
            <a:normAutofit/>
          </a:bodyPr>
          <a:lstStyle/>
          <a:p>
            <a:pPr indent="-228600" defTabSz="914400">
              <a:lnSpc>
                <a:spcPct val="110000"/>
              </a:lnSpc>
              <a:spcAft>
                <a:spcPts val="600"/>
              </a:spcAft>
              <a:buFont typeface="Arial" panose="020B0604020202020204" pitchFamily="34" charset="0"/>
              <a:buChar char="•"/>
            </a:pPr>
            <a:endParaRPr lang="en-US" sz="3000" dirty="0">
              <a:solidFill>
                <a:schemeClr val="tx1"/>
              </a:solidFill>
              <a:latin typeface="+mn-lt"/>
            </a:endParaRPr>
          </a:p>
          <a:p>
            <a:pPr indent="-228600" defTabSz="914400">
              <a:lnSpc>
                <a:spcPct val="110000"/>
              </a:lnSpc>
              <a:spcAft>
                <a:spcPts val="600"/>
              </a:spcAft>
              <a:buFont typeface="Arial" panose="020B0604020202020204" pitchFamily="34" charset="0"/>
              <a:buChar char="•"/>
            </a:pPr>
            <a:endParaRPr lang="en-US" sz="3000" dirty="0">
              <a:solidFill>
                <a:schemeClr val="tx1"/>
              </a:solidFill>
              <a:latin typeface="+mn-lt"/>
            </a:endParaRPr>
          </a:p>
          <a:p>
            <a:pPr indent="-228600" defTabSz="914400">
              <a:lnSpc>
                <a:spcPct val="110000"/>
              </a:lnSpc>
              <a:spcAft>
                <a:spcPts val="600"/>
              </a:spcAft>
              <a:buFont typeface="Arial" panose="020B0604020202020204" pitchFamily="34" charset="0"/>
              <a:buChar char="•"/>
            </a:pPr>
            <a:endParaRPr lang="en-US" sz="3000" dirty="0">
              <a:solidFill>
                <a:schemeClr val="tx1"/>
              </a:solidFill>
              <a:latin typeface="+mn-lt"/>
            </a:endParaRPr>
          </a:p>
          <a:p>
            <a:pPr defTabSz="914400">
              <a:lnSpc>
                <a:spcPct val="110000"/>
              </a:lnSpc>
              <a:spcAft>
                <a:spcPts val="600"/>
              </a:spcAft>
            </a:pPr>
            <a:endParaRPr lang="en-US" sz="3000" dirty="0">
              <a:solidFill>
                <a:schemeClr val="tx1"/>
              </a:solidFill>
              <a:latin typeface="+mn-lt"/>
            </a:endParaRPr>
          </a:p>
          <a:p>
            <a:pPr defTabSz="914400">
              <a:lnSpc>
                <a:spcPct val="110000"/>
              </a:lnSpc>
              <a:spcAft>
                <a:spcPts val="600"/>
              </a:spcAft>
            </a:pPr>
            <a:r>
              <a:rPr lang="en-US" sz="3000" dirty="0">
                <a:solidFill>
                  <a:schemeClr val="tx1"/>
                </a:solidFill>
                <a:latin typeface="+mn-lt"/>
              </a:rPr>
              <a:t>Vishal Khatal</a:t>
            </a:r>
            <a:endParaRPr lang="en-US" sz="3000" b="1" dirty="0">
              <a:solidFill>
                <a:schemeClr val="tx1"/>
              </a:solidFill>
              <a:latin typeface="+mn-lt"/>
            </a:endParaRPr>
          </a:p>
          <a:p>
            <a:pPr defTabSz="914400">
              <a:lnSpc>
                <a:spcPct val="110000"/>
              </a:lnSpc>
              <a:spcAft>
                <a:spcPts val="600"/>
              </a:spcAft>
            </a:pPr>
            <a:r>
              <a:rPr lang="en-US" sz="3000" dirty="0">
                <a:solidFill>
                  <a:schemeClr val="tx1"/>
                </a:solidFill>
                <a:latin typeface="+mn-lt"/>
                <a:hlinkClick r:id="rId3">
                  <a:extLst>
                    <a:ext uri="{A12FA001-AC4F-418D-AE19-62706E023703}">
                      <ahyp:hlinkClr xmlns:ahyp="http://schemas.microsoft.com/office/drawing/2018/hyperlinkcolor" val="tx"/>
                    </a:ext>
                  </a:extLst>
                </a:hlinkClick>
              </a:rPr>
              <a:t>https://vishalkhatal.wordpress.com/</a:t>
            </a:r>
            <a:endParaRPr lang="en-US" sz="3000" dirty="0">
              <a:solidFill>
                <a:schemeClr val="tx1"/>
              </a:solidFill>
              <a:latin typeface="+mn-lt"/>
            </a:endParaRPr>
          </a:p>
          <a:p>
            <a:pPr indent="-228600" defTabSz="914400">
              <a:lnSpc>
                <a:spcPct val="110000"/>
              </a:lnSpc>
              <a:spcAft>
                <a:spcPts val="600"/>
              </a:spcAft>
              <a:buFont typeface="Arial" panose="020B0604020202020204" pitchFamily="34" charset="0"/>
              <a:buChar char="•"/>
            </a:pPr>
            <a:endParaRPr lang="en-US" sz="3000" dirty="0">
              <a:solidFill>
                <a:schemeClr val="tx1"/>
              </a:solidFill>
              <a:latin typeface="+mn-lt"/>
            </a:endParaRPr>
          </a:p>
          <a:p>
            <a:pPr indent="-228600" defTabSz="914400">
              <a:lnSpc>
                <a:spcPct val="110000"/>
              </a:lnSpc>
              <a:spcAft>
                <a:spcPts val="600"/>
              </a:spcAft>
              <a:buFont typeface="Arial" panose="020B0604020202020204" pitchFamily="34" charset="0"/>
              <a:buChar char="•"/>
            </a:pPr>
            <a:endParaRPr lang="en-US" sz="3000" dirty="0">
              <a:solidFill>
                <a:schemeClr val="tx1"/>
              </a:solidFill>
              <a:latin typeface="+mn-lt"/>
            </a:endParaRPr>
          </a:p>
        </p:txBody>
      </p:sp>
      <p:pic>
        <p:nvPicPr>
          <p:cNvPr id="3" name="Picture 2" descr="A close up of a logo&#10;&#10;Description generated with very high confidence">
            <a:extLst>
              <a:ext uri="{FF2B5EF4-FFF2-40B4-BE49-F238E27FC236}">
                <a16:creationId xmlns:a16="http://schemas.microsoft.com/office/drawing/2014/main" id="{79B3AE84-1D00-46FA-8C2F-04B2319BC701}"/>
              </a:ext>
            </a:extLst>
          </p:cNvPr>
          <p:cNvPicPr>
            <a:picLocks noChangeAspect="1"/>
          </p:cNvPicPr>
          <p:nvPr/>
        </p:nvPicPr>
        <p:blipFill>
          <a:blip r:embed="rId4"/>
          <a:stretch>
            <a:fillRect/>
          </a:stretch>
        </p:blipFill>
        <p:spPr>
          <a:xfrm>
            <a:off x="7479866" y="982662"/>
            <a:ext cx="4730103" cy="4730103"/>
          </a:xfrm>
          <a:prstGeom prst="rect">
            <a:avLst/>
          </a:prstGeom>
        </p:spPr>
      </p:pic>
      <p:sp>
        <p:nvSpPr>
          <p:cNvPr id="6" name="Text Placeholder 6"/>
          <p:cNvSpPr txBox="1">
            <a:spLocks/>
          </p:cNvSpPr>
          <p:nvPr/>
        </p:nvSpPr>
        <p:spPr>
          <a:xfrm>
            <a:off x="322262" y="360323"/>
            <a:ext cx="2667000" cy="406265"/>
          </a:xfrm>
          <a:prstGeom prst="rect">
            <a:avLst/>
          </a:prstGeom>
        </p:spPr>
        <p:txBody>
          <a:bodyPr/>
          <a:lstStyle>
            <a:lvl1pPr marL="342873" marR="0" indent="-342873"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154" marR="0" indent="-241281"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036"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618"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199"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US" sz="1600" dirty="0">
              <a:latin typeface="+mn-lt"/>
            </a:endParaRPr>
          </a:p>
        </p:txBody>
      </p:sp>
    </p:spTree>
    <p:extLst>
      <p:ext uri="{BB962C8B-B14F-4D97-AF65-F5344CB8AC3E}">
        <p14:creationId xmlns:p14="http://schemas.microsoft.com/office/powerpoint/2010/main" val="34243329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75" name="Rounded Rectangle 4774"/>
          <p:cNvSpPr/>
          <p:nvPr>
            <p:custDataLst>
              <p:tags r:id="rId1"/>
            </p:custDataLst>
          </p:nvPr>
        </p:nvSpPr>
        <p:spPr bwMode="auto">
          <a:xfrm>
            <a:off x="1527632" y="1073120"/>
            <a:ext cx="382126" cy="395746"/>
          </a:xfrm>
          <a:prstGeom prst="roundRect">
            <a:avLst>
              <a:gd name="adj" fmla="val 11507"/>
            </a:avLst>
          </a:prstGeom>
          <a:solidFill>
            <a:schemeClr val="accent2">
              <a:lumMod val="75000"/>
              <a:alpha val="5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4759" name="Rounded Rectangle 4758"/>
          <p:cNvSpPr/>
          <p:nvPr>
            <p:custDataLst>
              <p:tags r:id="rId2"/>
            </p:custDataLst>
          </p:nvPr>
        </p:nvSpPr>
        <p:spPr bwMode="auto">
          <a:xfrm>
            <a:off x="3050775" y="801252"/>
            <a:ext cx="572292" cy="592690"/>
          </a:xfrm>
          <a:prstGeom prst="roundRect">
            <a:avLst>
              <a:gd name="adj" fmla="val 11507"/>
            </a:avLst>
          </a:prstGeom>
          <a:solidFill>
            <a:schemeClr val="accent2">
              <a:lumMod val="75000"/>
              <a:alpha val="5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4753" name="Rounded Rectangle 4752"/>
          <p:cNvSpPr/>
          <p:nvPr>
            <p:custDataLst>
              <p:tags r:id="rId3"/>
            </p:custDataLst>
          </p:nvPr>
        </p:nvSpPr>
        <p:spPr bwMode="auto">
          <a:xfrm>
            <a:off x="3769446" y="1525607"/>
            <a:ext cx="580289" cy="600972"/>
          </a:xfrm>
          <a:prstGeom prst="roundRect">
            <a:avLst>
              <a:gd name="adj" fmla="val 11507"/>
            </a:avLst>
          </a:prstGeom>
          <a:solidFill>
            <a:schemeClr val="accent2">
              <a:lumMod val="75000"/>
              <a:alpha val="5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4754" name="Rounded Rectangle 4753"/>
          <p:cNvSpPr/>
          <p:nvPr>
            <p:custDataLst>
              <p:tags r:id="rId4"/>
            </p:custDataLst>
          </p:nvPr>
        </p:nvSpPr>
        <p:spPr bwMode="auto">
          <a:xfrm>
            <a:off x="3117287" y="2140074"/>
            <a:ext cx="580289" cy="600972"/>
          </a:xfrm>
          <a:prstGeom prst="roundRect">
            <a:avLst>
              <a:gd name="adj" fmla="val 11507"/>
            </a:avLst>
          </a:prstGeom>
          <a:solidFill>
            <a:schemeClr val="accent2">
              <a:lumMod val="75000"/>
              <a:alpha val="5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4755" name="Rounded Rectangle 4754"/>
          <p:cNvSpPr/>
          <p:nvPr>
            <p:custDataLst>
              <p:tags r:id="rId5"/>
            </p:custDataLst>
          </p:nvPr>
        </p:nvSpPr>
        <p:spPr bwMode="auto">
          <a:xfrm>
            <a:off x="4329114" y="2254882"/>
            <a:ext cx="662198" cy="685800"/>
          </a:xfrm>
          <a:prstGeom prst="roundRect">
            <a:avLst>
              <a:gd name="adj" fmla="val 11507"/>
            </a:avLst>
          </a:prstGeom>
          <a:solidFill>
            <a:schemeClr val="accent2">
              <a:lumMod val="75000"/>
              <a:alpha val="5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4756" name="Rounded Rectangle 4755"/>
          <p:cNvSpPr/>
          <p:nvPr>
            <p:custDataLst>
              <p:tags r:id="rId6"/>
            </p:custDataLst>
          </p:nvPr>
        </p:nvSpPr>
        <p:spPr bwMode="auto">
          <a:xfrm>
            <a:off x="2235415" y="2453640"/>
            <a:ext cx="662198" cy="685800"/>
          </a:xfrm>
          <a:prstGeom prst="roundRect">
            <a:avLst>
              <a:gd name="adj" fmla="val 11507"/>
            </a:avLst>
          </a:prstGeom>
          <a:solidFill>
            <a:schemeClr val="accent2">
              <a:lumMod val="75000"/>
              <a:alpha val="5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4757" name="Rounded Rectangle 4756"/>
          <p:cNvSpPr/>
          <p:nvPr>
            <p:custDataLst>
              <p:tags r:id="rId7"/>
            </p:custDataLst>
          </p:nvPr>
        </p:nvSpPr>
        <p:spPr bwMode="auto">
          <a:xfrm>
            <a:off x="1905907" y="1865774"/>
            <a:ext cx="368484" cy="381618"/>
          </a:xfrm>
          <a:prstGeom prst="roundRect">
            <a:avLst>
              <a:gd name="adj" fmla="val 11507"/>
            </a:avLst>
          </a:prstGeom>
          <a:solidFill>
            <a:schemeClr val="accent2">
              <a:lumMod val="75000"/>
              <a:alpha val="5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4758" name="Rounded Rectangle 4757"/>
          <p:cNvSpPr/>
          <p:nvPr>
            <p:custDataLst>
              <p:tags r:id="rId8"/>
            </p:custDataLst>
          </p:nvPr>
        </p:nvSpPr>
        <p:spPr bwMode="auto">
          <a:xfrm>
            <a:off x="978738" y="2207845"/>
            <a:ext cx="368484" cy="381618"/>
          </a:xfrm>
          <a:prstGeom prst="roundRect">
            <a:avLst>
              <a:gd name="adj" fmla="val 11507"/>
            </a:avLst>
          </a:prstGeom>
          <a:solidFill>
            <a:schemeClr val="accent2">
              <a:lumMod val="75000"/>
              <a:alpha val="5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4760" name="Rounded Rectangle 4759"/>
          <p:cNvSpPr/>
          <p:nvPr>
            <p:custDataLst>
              <p:tags r:id="rId9"/>
            </p:custDataLst>
          </p:nvPr>
        </p:nvSpPr>
        <p:spPr bwMode="auto">
          <a:xfrm>
            <a:off x="1026128" y="2975730"/>
            <a:ext cx="501504" cy="519379"/>
          </a:xfrm>
          <a:prstGeom prst="roundRect">
            <a:avLst>
              <a:gd name="adj" fmla="val 11507"/>
            </a:avLst>
          </a:prstGeom>
          <a:solidFill>
            <a:schemeClr val="accent2">
              <a:lumMod val="75000"/>
              <a:alpha val="5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4761" name="Rounded Rectangle 4760"/>
          <p:cNvSpPr/>
          <p:nvPr>
            <p:custDataLst>
              <p:tags r:id="rId10"/>
            </p:custDataLst>
          </p:nvPr>
        </p:nvSpPr>
        <p:spPr bwMode="auto">
          <a:xfrm>
            <a:off x="2090653" y="3698965"/>
            <a:ext cx="662198" cy="685800"/>
          </a:xfrm>
          <a:prstGeom prst="roundRect">
            <a:avLst>
              <a:gd name="adj" fmla="val 11507"/>
            </a:avLst>
          </a:prstGeom>
          <a:solidFill>
            <a:schemeClr val="accent2">
              <a:lumMod val="75000"/>
              <a:alpha val="5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4762" name="Rounded Rectangle 4761"/>
          <p:cNvSpPr/>
          <p:nvPr>
            <p:custDataLst>
              <p:tags r:id="rId11"/>
            </p:custDataLst>
          </p:nvPr>
        </p:nvSpPr>
        <p:spPr bwMode="auto">
          <a:xfrm>
            <a:off x="3414719" y="3062240"/>
            <a:ext cx="544823" cy="564242"/>
          </a:xfrm>
          <a:prstGeom prst="roundRect">
            <a:avLst>
              <a:gd name="adj" fmla="val 11507"/>
            </a:avLst>
          </a:prstGeom>
          <a:solidFill>
            <a:schemeClr val="accent2">
              <a:lumMod val="75000"/>
              <a:alpha val="5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2" name="Text Placeholder 1"/>
          <p:cNvSpPr>
            <a:spLocks noGrp="1"/>
          </p:cNvSpPr>
          <p:nvPr>
            <p:ph type="body" sz="quarter" idx="10"/>
          </p:nvPr>
        </p:nvSpPr>
        <p:spPr>
          <a:xfrm>
            <a:off x="5770004" y="1379314"/>
            <a:ext cx="6400800" cy="5620000"/>
          </a:xfrm>
        </p:spPr>
        <p:txBody>
          <a:bodyPr/>
          <a:lstStyle/>
          <a:p>
            <a:pPr marL="571500" indent="-571500">
              <a:buClr>
                <a:schemeClr val="accent2"/>
              </a:buClr>
              <a:buFont typeface="Wingdings" panose="05000000000000000000" pitchFamily="2" charset="2"/>
              <a:buChar char="v"/>
            </a:pPr>
            <a:r>
              <a:rPr lang="en-US" sz="3600" dirty="0"/>
              <a:t>What is IOT Application?</a:t>
            </a:r>
          </a:p>
          <a:p>
            <a:pPr marL="571500" indent="-571500">
              <a:buClr>
                <a:schemeClr val="accent2"/>
              </a:buClr>
              <a:buFont typeface="Wingdings" panose="05000000000000000000" pitchFamily="2" charset="2"/>
              <a:buChar char="v"/>
            </a:pPr>
            <a:r>
              <a:rPr lang="en-US" sz="3600" dirty="0"/>
              <a:t>Device Connectivity</a:t>
            </a:r>
          </a:p>
          <a:p>
            <a:pPr marL="571500" indent="-571500">
              <a:buClr>
                <a:schemeClr val="accent2"/>
              </a:buClr>
              <a:buFont typeface="Wingdings" panose="05000000000000000000" pitchFamily="2" charset="2"/>
              <a:buChar char="v"/>
            </a:pPr>
            <a:r>
              <a:rPr lang="en-US" sz="3600" dirty="0"/>
              <a:t>Understanding the Azure IoT Suite</a:t>
            </a:r>
          </a:p>
          <a:p>
            <a:pPr marL="571500" indent="-571500">
              <a:buClr>
                <a:schemeClr val="accent2"/>
              </a:buClr>
              <a:buFont typeface="Wingdings" panose="05000000000000000000" pitchFamily="2" charset="2"/>
              <a:buChar char="v"/>
            </a:pPr>
            <a:r>
              <a:rPr lang="en-US" sz="3600" dirty="0"/>
              <a:t>Pre-configured IOT solutions</a:t>
            </a:r>
          </a:p>
          <a:p>
            <a:pPr marL="571500" indent="-571500">
              <a:buClr>
                <a:schemeClr val="accent2"/>
              </a:buClr>
              <a:buFont typeface="Wingdings" panose="05000000000000000000" pitchFamily="2" charset="2"/>
              <a:buChar char="v"/>
            </a:pPr>
            <a:r>
              <a:rPr lang="en-US" sz="3600" dirty="0"/>
              <a:t>Demo</a:t>
            </a:r>
          </a:p>
          <a:p>
            <a:endParaRPr lang="en-US" sz="3600" dirty="0"/>
          </a:p>
          <a:p>
            <a:endParaRPr lang="en-US" sz="3600" dirty="0"/>
          </a:p>
        </p:txBody>
      </p:sp>
      <p:sp>
        <p:nvSpPr>
          <p:cNvPr id="5" name="Title 4"/>
          <p:cNvSpPr>
            <a:spLocks noGrp="1"/>
          </p:cNvSpPr>
          <p:nvPr>
            <p:ph type="title"/>
          </p:nvPr>
        </p:nvSpPr>
        <p:spPr/>
        <p:txBody>
          <a:bodyPr>
            <a:normAutofit/>
          </a:bodyPr>
          <a:lstStyle/>
          <a:p>
            <a:r>
              <a:rPr lang="en-US" sz="4400" dirty="0"/>
              <a:t>Agenda</a:t>
            </a:r>
          </a:p>
        </p:txBody>
      </p:sp>
      <p:pic>
        <p:nvPicPr>
          <p:cNvPr id="10527" name="Picture 3141"/>
          <p:cNvPicPr>
            <a:picLocks noChangeAspect="1" noChangeArrowheads="1"/>
          </p:cNvPicPr>
          <p:nvPr/>
        </p:nvPicPr>
        <p:blipFill>
          <a:blip r:embed="rId39">
            <a:extLst>
              <a:ext uri="{28A0092B-C50C-407E-A947-70E740481C1C}">
                <a14:useLocalDpi xmlns:a14="http://schemas.microsoft.com/office/drawing/2010/main" val="0"/>
              </a:ext>
            </a:extLst>
          </a:blip>
          <a:srcRect/>
          <a:stretch>
            <a:fillRect/>
          </a:stretch>
        </p:blipFill>
        <p:spPr bwMode="auto">
          <a:xfrm>
            <a:off x="-7143750" y="596900"/>
            <a:ext cx="5089525"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473" name="Freeform 4405"/>
          <p:cNvSpPr>
            <a:spLocks noEditPoints="1"/>
          </p:cNvSpPr>
          <p:nvPr/>
        </p:nvSpPr>
        <p:spPr bwMode="auto">
          <a:xfrm>
            <a:off x="13113257" y="-2566193"/>
            <a:ext cx="460375" cy="473075"/>
          </a:xfrm>
          <a:custGeom>
            <a:avLst/>
            <a:gdLst>
              <a:gd name="T0" fmla="*/ 154 w 290"/>
              <a:gd name="T1" fmla="*/ 273 h 298"/>
              <a:gd name="T2" fmla="*/ 163 w 290"/>
              <a:gd name="T3" fmla="*/ 266 h 298"/>
              <a:gd name="T4" fmla="*/ 186 w 290"/>
              <a:gd name="T5" fmla="*/ 247 h 298"/>
              <a:gd name="T6" fmla="*/ 215 w 290"/>
              <a:gd name="T7" fmla="*/ 219 h 298"/>
              <a:gd name="T8" fmla="*/ 243 w 290"/>
              <a:gd name="T9" fmla="*/ 186 h 298"/>
              <a:gd name="T10" fmla="*/ 265 w 290"/>
              <a:gd name="T11" fmla="*/ 151 h 298"/>
              <a:gd name="T12" fmla="*/ 154 w 290"/>
              <a:gd name="T13" fmla="*/ 134 h 298"/>
              <a:gd name="T14" fmla="*/ 121 w 290"/>
              <a:gd name="T15" fmla="*/ 50 h 298"/>
              <a:gd name="T16" fmla="*/ 73 w 290"/>
              <a:gd name="T17" fmla="*/ 75 h 298"/>
              <a:gd name="T18" fmla="*/ 18 w 290"/>
              <a:gd name="T19" fmla="*/ 75 h 298"/>
              <a:gd name="T20" fmla="*/ 18 w 290"/>
              <a:gd name="T21" fmla="*/ 117 h 298"/>
              <a:gd name="T22" fmla="*/ 137 w 290"/>
              <a:gd name="T23" fmla="*/ 35 h 298"/>
              <a:gd name="T24" fmla="*/ 147 w 290"/>
              <a:gd name="T25" fmla="*/ 0 h 298"/>
              <a:gd name="T26" fmla="*/ 149 w 290"/>
              <a:gd name="T27" fmla="*/ 2 h 298"/>
              <a:gd name="T28" fmla="*/ 150 w 290"/>
              <a:gd name="T29" fmla="*/ 2 h 298"/>
              <a:gd name="T30" fmla="*/ 151 w 290"/>
              <a:gd name="T31" fmla="*/ 3 h 298"/>
              <a:gd name="T32" fmla="*/ 153 w 290"/>
              <a:gd name="T33" fmla="*/ 4 h 298"/>
              <a:gd name="T34" fmla="*/ 153 w 290"/>
              <a:gd name="T35" fmla="*/ 6 h 298"/>
              <a:gd name="T36" fmla="*/ 178 w 290"/>
              <a:gd name="T37" fmla="*/ 36 h 298"/>
              <a:gd name="T38" fmla="*/ 222 w 290"/>
              <a:gd name="T39" fmla="*/ 58 h 298"/>
              <a:gd name="T40" fmla="*/ 262 w 290"/>
              <a:gd name="T41" fmla="*/ 60 h 298"/>
              <a:gd name="T42" fmla="*/ 279 w 290"/>
              <a:gd name="T43" fmla="*/ 55 h 298"/>
              <a:gd name="T44" fmla="*/ 286 w 290"/>
              <a:gd name="T45" fmla="*/ 59 h 298"/>
              <a:gd name="T46" fmla="*/ 290 w 290"/>
              <a:gd name="T47" fmla="*/ 87 h 298"/>
              <a:gd name="T48" fmla="*/ 286 w 290"/>
              <a:gd name="T49" fmla="*/ 138 h 298"/>
              <a:gd name="T50" fmla="*/ 263 w 290"/>
              <a:gd name="T51" fmla="*/ 185 h 298"/>
              <a:gd name="T52" fmla="*/ 230 w 290"/>
              <a:gd name="T53" fmla="*/ 227 h 298"/>
              <a:gd name="T54" fmla="*/ 194 w 290"/>
              <a:gd name="T55" fmla="*/ 262 h 298"/>
              <a:gd name="T56" fmla="*/ 163 w 290"/>
              <a:gd name="T57" fmla="*/ 286 h 298"/>
              <a:gd name="T58" fmla="*/ 150 w 290"/>
              <a:gd name="T59" fmla="*/ 297 h 298"/>
              <a:gd name="T60" fmla="*/ 145 w 290"/>
              <a:gd name="T61" fmla="*/ 298 h 298"/>
              <a:gd name="T62" fmla="*/ 141 w 290"/>
              <a:gd name="T63" fmla="*/ 297 h 298"/>
              <a:gd name="T64" fmla="*/ 127 w 290"/>
              <a:gd name="T65" fmla="*/ 287 h 298"/>
              <a:gd name="T66" fmla="*/ 101 w 290"/>
              <a:gd name="T67" fmla="*/ 265 h 298"/>
              <a:gd name="T68" fmla="*/ 66 w 290"/>
              <a:gd name="T69" fmla="*/ 233 h 298"/>
              <a:gd name="T70" fmla="*/ 32 w 290"/>
              <a:gd name="T71" fmla="*/ 194 h 298"/>
              <a:gd name="T72" fmla="*/ 8 w 290"/>
              <a:gd name="T73" fmla="*/ 150 h 298"/>
              <a:gd name="T74" fmla="*/ 2 w 290"/>
              <a:gd name="T75" fmla="*/ 126 h 298"/>
              <a:gd name="T76" fmla="*/ 0 w 290"/>
              <a:gd name="T77" fmla="*/ 87 h 298"/>
              <a:gd name="T78" fmla="*/ 4 w 290"/>
              <a:gd name="T79" fmla="*/ 59 h 298"/>
              <a:gd name="T80" fmla="*/ 11 w 290"/>
              <a:gd name="T81" fmla="*/ 55 h 298"/>
              <a:gd name="T82" fmla="*/ 27 w 290"/>
              <a:gd name="T83" fmla="*/ 60 h 298"/>
              <a:gd name="T84" fmla="*/ 69 w 290"/>
              <a:gd name="T85" fmla="*/ 58 h 298"/>
              <a:gd name="T86" fmla="*/ 113 w 290"/>
              <a:gd name="T87" fmla="*/ 36 h 298"/>
              <a:gd name="T88" fmla="*/ 138 w 290"/>
              <a:gd name="T89" fmla="*/ 6 h 298"/>
              <a:gd name="T90" fmla="*/ 138 w 290"/>
              <a:gd name="T91" fmla="*/ 4 h 298"/>
              <a:gd name="T92" fmla="*/ 139 w 290"/>
              <a:gd name="T93" fmla="*/ 3 h 298"/>
              <a:gd name="T94" fmla="*/ 141 w 290"/>
              <a:gd name="T95" fmla="*/ 2 h 298"/>
              <a:gd name="T96" fmla="*/ 142 w 290"/>
              <a:gd name="T97" fmla="*/ 2 h 298"/>
              <a:gd name="T98" fmla="*/ 143 w 290"/>
              <a:gd name="T99" fmla="*/ 0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90" h="298">
                <a:moveTo>
                  <a:pt x="154" y="134"/>
                </a:moveTo>
                <a:lnTo>
                  <a:pt x="154" y="273"/>
                </a:lnTo>
                <a:lnTo>
                  <a:pt x="155" y="271"/>
                </a:lnTo>
                <a:lnTo>
                  <a:pt x="163" y="266"/>
                </a:lnTo>
                <a:lnTo>
                  <a:pt x="173" y="258"/>
                </a:lnTo>
                <a:lnTo>
                  <a:pt x="186" y="247"/>
                </a:lnTo>
                <a:lnTo>
                  <a:pt x="199" y="234"/>
                </a:lnTo>
                <a:lnTo>
                  <a:pt x="215" y="219"/>
                </a:lnTo>
                <a:lnTo>
                  <a:pt x="230" y="203"/>
                </a:lnTo>
                <a:lnTo>
                  <a:pt x="243" y="186"/>
                </a:lnTo>
                <a:lnTo>
                  <a:pt x="255" y="169"/>
                </a:lnTo>
                <a:lnTo>
                  <a:pt x="265" y="151"/>
                </a:lnTo>
                <a:lnTo>
                  <a:pt x="270" y="134"/>
                </a:lnTo>
                <a:lnTo>
                  <a:pt x="154" y="134"/>
                </a:lnTo>
                <a:close/>
                <a:moveTo>
                  <a:pt x="137" y="35"/>
                </a:moveTo>
                <a:lnTo>
                  <a:pt x="121" y="50"/>
                </a:lnTo>
                <a:lnTo>
                  <a:pt x="102" y="62"/>
                </a:lnTo>
                <a:lnTo>
                  <a:pt x="73" y="75"/>
                </a:lnTo>
                <a:lnTo>
                  <a:pt x="43" y="79"/>
                </a:lnTo>
                <a:lnTo>
                  <a:pt x="18" y="75"/>
                </a:lnTo>
                <a:lnTo>
                  <a:pt x="16" y="113"/>
                </a:lnTo>
                <a:lnTo>
                  <a:pt x="18" y="117"/>
                </a:lnTo>
                <a:lnTo>
                  <a:pt x="137" y="117"/>
                </a:lnTo>
                <a:lnTo>
                  <a:pt x="137" y="35"/>
                </a:lnTo>
                <a:close/>
                <a:moveTo>
                  <a:pt x="145" y="0"/>
                </a:moveTo>
                <a:lnTo>
                  <a:pt x="147" y="0"/>
                </a:lnTo>
                <a:lnTo>
                  <a:pt x="147" y="0"/>
                </a:lnTo>
                <a:lnTo>
                  <a:pt x="149" y="2"/>
                </a:lnTo>
                <a:lnTo>
                  <a:pt x="149" y="2"/>
                </a:lnTo>
                <a:lnTo>
                  <a:pt x="150" y="2"/>
                </a:lnTo>
                <a:lnTo>
                  <a:pt x="150" y="2"/>
                </a:lnTo>
                <a:lnTo>
                  <a:pt x="151" y="3"/>
                </a:lnTo>
                <a:lnTo>
                  <a:pt x="151" y="3"/>
                </a:lnTo>
                <a:lnTo>
                  <a:pt x="153" y="4"/>
                </a:lnTo>
                <a:lnTo>
                  <a:pt x="153" y="4"/>
                </a:lnTo>
                <a:lnTo>
                  <a:pt x="153" y="6"/>
                </a:lnTo>
                <a:lnTo>
                  <a:pt x="163" y="22"/>
                </a:lnTo>
                <a:lnTo>
                  <a:pt x="178" y="36"/>
                </a:lnTo>
                <a:lnTo>
                  <a:pt x="195" y="48"/>
                </a:lnTo>
                <a:lnTo>
                  <a:pt x="222" y="58"/>
                </a:lnTo>
                <a:lnTo>
                  <a:pt x="247" y="62"/>
                </a:lnTo>
                <a:lnTo>
                  <a:pt x="262" y="60"/>
                </a:lnTo>
                <a:lnTo>
                  <a:pt x="275" y="56"/>
                </a:lnTo>
                <a:lnTo>
                  <a:pt x="279" y="55"/>
                </a:lnTo>
                <a:lnTo>
                  <a:pt x="283" y="56"/>
                </a:lnTo>
                <a:lnTo>
                  <a:pt x="286" y="59"/>
                </a:lnTo>
                <a:lnTo>
                  <a:pt x="287" y="63"/>
                </a:lnTo>
                <a:lnTo>
                  <a:pt x="290" y="87"/>
                </a:lnTo>
                <a:lnTo>
                  <a:pt x="290" y="113"/>
                </a:lnTo>
                <a:lnTo>
                  <a:pt x="286" y="138"/>
                </a:lnTo>
                <a:lnTo>
                  <a:pt x="277" y="161"/>
                </a:lnTo>
                <a:lnTo>
                  <a:pt x="263" y="185"/>
                </a:lnTo>
                <a:lnTo>
                  <a:pt x="247" y="206"/>
                </a:lnTo>
                <a:lnTo>
                  <a:pt x="230" y="227"/>
                </a:lnTo>
                <a:lnTo>
                  <a:pt x="211" y="246"/>
                </a:lnTo>
                <a:lnTo>
                  <a:pt x="194" y="262"/>
                </a:lnTo>
                <a:lnTo>
                  <a:pt x="177" y="275"/>
                </a:lnTo>
                <a:lnTo>
                  <a:pt x="163" y="286"/>
                </a:lnTo>
                <a:lnTo>
                  <a:pt x="154" y="293"/>
                </a:lnTo>
                <a:lnTo>
                  <a:pt x="150" y="297"/>
                </a:lnTo>
                <a:lnTo>
                  <a:pt x="147" y="298"/>
                </a:lnTo>
                <a:lnTo>
                  <a:pt x="145" y="298"/>
                </a:lnTo>
                <a:lnTo>
                  <a:pt x="143" y="298"/>
                </a:lnTo>
                <a:lnTo>
                  <a:pt x="141" y="297"/>
                </a:lnTo>
                <a:lnTo>
                  <a:pt x="137" y="294"/>
                </a:lnTo>
                <a:lnTo>
                  <a:pt x="127" y="287"/>
                </a:lnTo>
                <a:lnTo>
                  <a:pt x="115" y="278"/>
                </a:lnTo>
                <a:lnTo>
                  <a:pt x="101" y="265"/>
                </a:lnTo>
                <a:lnTo>
                  <a:pt x="83" y="250"/>
                </a:lnTo>
                <a:lnTo>
                  <a:pt x="66" y="233"/>
                </a:lnTo>
                <a:lnTo>
                  <a:pt x="48" y="214"/>
                </a:lnTo>
                <a:lnTo>
                  <a:pt x="32" y="194"/>
                </a:lnTo>
                <a:lnTo>
                  <a:pt x="19" y="173"/>
                </a:lnTo>
                <a:lnTo>
                  <a:pt x="8" y="150"/>
                </a:lnTo>
                <a:lnTo>
                  <a:pt x="2" y="127"/>
                </a:lnTo>
                <a:lnTo>
                  <a:pt x="2" y="126"/>
                </a:lnTo>
                <a:lnTo>
                  <a:pt x="0" y="113"/>
                </a:lnTo>
                <a:lnTo>
                  <a:pt x="0" y="87"/>
                </a:lnTo>
                <a:lnTo>
                  <a:pt x="3" y="63"/>
                </a:lnTo>
                <a:lnTo>
                  <a:pt x="4" y="59"/>
                </a:lnTo>
                <a:lnTo>
                  <a:pt x="7" y="56"/>
                </a:lnTo>
                <a:lnTo>
                  <a:pt x="11" y="55"/>
                </a:lnTo>
                <a:lnTo>
                  <a:pt x="14" y="56"/>
                </a:lnTo>
                <a:lnTo>
                  <a:pt x="27" y="60"/>
                </a:lnTo>
                <a:lnTo>
                  <a:pt x="43" y="62"/>
                </a:lnTo>
                <a:lnTo>
                  <a:pt x="69" y="58"/>
                </a:lnTo>
                <a:lnTo>
                  <a:pt x="94" y="48"/>
                </a:lnTo>
                <a:lnTo>
                  <a:pt x="113" y="36"/>
                </a:lnTo>
                <a:lnTo>
                  <a:pt x="127" y="22"/>
                </a:lnTo>
                <a:lnTo>
                  <a:pt x="138" y="6"/>
                </a:lnTo>
                <a:lnTo>
                  <a:pt x="138" y="4"/>
                </a:lnTo>
                <a:lnTo>
                  <a:pt x="138" y="4"/>
                </a:lnTo>
                <a:lnTo>
                  <a:pt x="139" y="3"/>
                </a:lnTo>
                <a:lnTo>
                  <a:pt x="139" y="3"/>
                </a:lnTo>
                <a:lnTo>
                  <a:pt x="141" y="2"/>
                </a:lnTo>
                <a:lnTo>
                  <a:pt x="141" y="2"/>
                </a:lnTo>
                <a:lnTo>
                  <a:pt x="142" y="2"/>
                </a:lnTo>
                <a:lnTo>
                  <a:pt x="142" y="2"/>
                </a:lnTo>
                <a:lnTo>
                  <a:pt x="143" y="0"/>
                </a:lnTo>
                <a:lnTo>
                  <a:pt x="143" y="0"/>
                </a:lnTo>
                <a:lnTo>
                  <a:pt x="145" y="0"/>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404040"/>
              </a:solidFill>
            </a:endParaRPr>
          </a:p>
        </p:txBody>
      </p:sp>
      <p:pic>
        <p:nvPicPr>
          <p:cNvPr id="11152" name="Picture 11151"/>
          <p:cNvPicPr>
            <a:picLocks noChangeAspect="1"/>
          </p:cNvPicPr>
          <p:nvPr/>
        </p:nvPicPr>
        <p:blipFill>
          <a:blip r:embed="rId40">
            <a:extLst>
              <a:ext uri="{28A0092B-C50C-407E-A947-70E740481C1C}">
                <a14:useLocalDpi xmlns:a14="http://schemas.microsoft.com/office/drawing/2010/main" val="0"/>
              </a:ext>
            </a:extLst>
          </a:blip>
          <a:stretch>
            <a:fillRect/>
          </a:stretch>
        </p:blipFill>
        <p:spPr>
          <a:xfrm>
            <a:off x="111167" y="5419104"/>
            <a:ext cx="5982717" cy="1130719"/>
          </a:xfrm>
          <a:prstGeom prst="rect">
            <a:avLst/>
          </a:prstGeom>
        </p:spPr>
      </p:pic>
      <p:sp>
        <p:nvSpPr>
          <p:cNvPr id="11154" name="Rounded Rectangle 11153"/>
          <p:cNvSpPr/>
          <p:nvPr>
            <p:custDataLst>
              <p:tags r:id="rId12"/>
            </p:custDataLst>
          </p:nvPr>
        </p:nvSpPr>
        <p:spPr bwMode="auto">
          <a:xfrm>
            <a:off x="1747354" y="4233931"/>
            <a:ext cx="625464" cy="625464"/>
          </a:xfrm>
          <a:prstGeom prst="roundRect">
            <a:avLst/>
          </a:prstGeom>
          <a:solidFill>
            <a:schemeClr val="accent2">
              <a:lumMod val="75000"/>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1155" name="Rounded Rectangle 11154"/>
          <p:cNvSpPr/>
          <p:nvPr>
            <p:custDataLst>
              <p:tags r:id="rId13"/>
            </p:custDataLst>
          </p:nvPr>
        </p:nvSpPr>
        <p:spPr bwMode="auto">
          <a:xfrm>
            <a:off x="3277354" y="4657197"/>
            <a:ext cx="625464" cy="625464"/>
          </a:xfrm>
          <a:prstGeom prst="roundRect">
            <a:avLst/>
          </a:prstGeom>
          <a:solidFill>
            <a:schemeClr val="accent2">
              <a:lumMod val="75000"/>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1156" name="Rounded Rectangle 11155"/>
          <p:cNvSpPr/>
          <p:nvPr>
            <p:custDataLst>
              <p:tags r:id="rId14"/>
            </p:custDataLst>
          </p:nvPr>
        </p:nvSpPr>
        <p:spPr bwMode="auto">
          <a:xfrm>
            <a:off x="2763533" y="4041865"/>
            <a:ext cx="852897" cy="890227"/>
          </a:xfrm>
          <a:prstGeom prst="roundRect">
            <a:avLst>
              <a:gd name="adj" fmla="val 10103"/>
            </a:avLst>
          </a:prstGeom>
          <a:solidFill>
            <a:schemeClr val="accent2">
              <a:lumMod val="75000"/>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1157" name="Rounded Rectangle 11156"/>
          <p:cNvSpPr/>
          <p:nvPr>
            <p:custDataLst>
              <p:tags r:id="rId15"/>
            </p:custDataLst>
          </p:nvPr>
        </p:nvSpPr>
        <p:spPr bwMode="auto">
          <a:xfrm>
            <a:off x="2175782" y="4674484"/>
            <a:ext cx="673691" cy="673691"/>
          </a:xfrm>
          <a:prstGeom prst="roundRect">
            <a:avLst/>
          </a:prstGeom>
          <a:solidFill>
            <a:schemeClr val="accent2">
              <a:lumMod val="75000"/>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4727" name="Rounded Rectangle 4726"/>
          <p:cNvSpPr/>
          <p:nvPr>
            <p:custDataLst>
              <p:tags r:id="rId16"/>
            </p:custDataLst>
          </p:nvPr>
        </p:nvSpPr>
        <p:spPr bwMode="auto">
          <a:xfrm>
            <a:off x="2789794" y="5077650"/>
            <a:ext cx="625464" cy="625464"/>
          </a:xfrm>
          <a:prstGeom prst="roundRect">
            <a:avLst/>
          </a:prstGeom>
          <a:solidFill>
            <a:schemeClr val="accent2">
              <a:lumMod val="75000"/>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4728" name="Rounded Rectangle 4727"/>
          <p:cNvSpPr/>
          <p:nvPr>
            <p:custDataLst>
              <p:tags r:id="rId17"/>
            </p:custDataLst>
          </p:nvPr>
        </p:nvSpPr>
        <p:spPr bwMode="auto">
          <a:xfrm>
            <a:off x="3830992" y="3883089"/>
            <a:ext cx="508052" cy="508052"/>
          </a:xfrm>
          <a:prstGeom prst="roundRect">
            <a:avLst/>
          </a:prstGeom>
          <a:solidFill>
            <a:schemeClr val="accent2">
              <a:lumMod val="75000"/>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4729" name="Rounded Rectangle 4728"/>
          <p:cNvSpPr/>
          <p:nvPr>
            <p:custDataLst>
              <p:tags r:id="rId18"/>
            </p:custDataLst>
          </p:nvPr>
        </p:nvSpPr>
        <p:spPr bwMode="auto">
          <a:xfrm>
            <a:off x="3933304" y="2931233"/>
            <a:ext cx="735888" cy="723256"/>
          </a:xfrm>
          <a:prstGeom prst="roundRect">
            <a:avLst>
              <a:gd name="adj" fmla="val 11507"/>
            </a:avLst>
          </a:prstGeom>
          <a:solidFill>
            <a:schemeClr val="accent2">
              <a:lumMod val="75000"/>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4730" name="Rounded Rectangle 4729"/>
          <p:cNvSpPr/>
          <p:nvPr>
            <p:custDataLst>
              <p:tags r:id="rId19"/>
            </p:custDataLst>
          </p:nvPr>
        </p:nvSpPr>
        <p:spPr bwMode="auto">
          <a:xfrm>
            <a:off x="3226208" y="3272670"/>
            <a:ext cx="639804" cy="628821"/>
          </a:xfrm>
          <a:prstGeom prst="roundRect">
            <a:avLst>
              <a:gd name="adj" fmla="val 11507"/>
            </a:avLst>
          </a:prstGeom>
          <a:solidFill>
            <a:schemeClr val="accent2">
              <a:lumMod val="75000"/>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4731" name="Rounded Rectangle 4730"/>
          <p:cNvSpPr/>
          <p:nvPr>
            <p:custDataLst>
              <p:tags r:id="rId20"/>
            </p:custDataLst>
          </p:nvPr>
        </p:nvSpPr>
        <p:spPr bwMode="auto">
          <a:xfrm>
            <a:off x="2664166" y="2849698"/>
            <a:ext cx="731242" cy="718690"/>
          </a:xfrm>
          <a:prstGeom prst="roundRect">
            <a:avLst>
              <a:gd name="adj" fmla="val 11507"/>
            </a:avLst>
          </a:prstGeom>
          <a:solidFill>
            <a:schemeClr val="accent2">
              <a:lumMod val="75000"/>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4732" name="Rounded Rectangle 4731"/>
          <p:cNvSpPr/>
          <p:nvPr>
            <p:custDataLst>
              <p:tags r:id="rId21"/>
            </p:custDataLst>
          </p:nvPr>
        </p:nvSpPr>
        <p:spPr bwMode="auto">
          <a:xfrm>
            <a:off x="1850235" y="3247004"/>
            <a:ext cx="631962" cy="654487"/>
          </a:xfrm>
          <a:prstGeom prst="roundRect">
            <a:avLst>
              <a:gd name="adj" fmla="val 11507"/>
            </a:avLst>
          </a:prstGeom>
          <a:solidFill>
            <a:schemeClr val="accent2">
              <a:lumMod val="75000"/>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4733" name="Rounded Rectangle 4732"/>
          <p:cNvSpPr/>
          <p:nvPr>
            <p:custDataLst>
              <p:tags r:id="rId22"/>
            </p:custDataLst>
          </p:nvPr>
        </p:nvSpPr>
        <p:spPr bwMode="auto">
          <a:xfrm>
            <a:off x="2353063" y="3553488"/>
            <a:ext cx="631962" cy="654487"/>
          </a:xfrm>
          <a:prstGeom prst="roundRect">
            <a:avLst>
              <a:gd name="adj" fmla="val 11507"/>
            </a:avLst>
          </a:prstGeom>
          <a:solidFill>
            <a:schemeClr val="accent2">
              <a:lumMod val="75000"/>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4734" name="Rounded Rectangle 4733"/>
          <p:cNvSpPr/>
          <p:nvPr>
            <p:custDataLst>
              <p:tags r:id="rId23"/>
            </p:custDataLst>
          </p:nvPr>
        </p:nvSpPr>
        <p:spPr bwMode="auto">
          <a:xfrm>
            <a:off x="1367609" y="2509961"/>
            <a:ext cx="631962" cy="654487"/>
          </a:xfrm>
          <a:prstGeom prst="roundRect">
            <a:avLst>
              <a:gd name="adj" fmla="val 11507"/>
            </a:avLst>
          </a:prstGeom>
          <a:solidFill>
            <a:schemeClr val="accent2">
              <a:lumMod val="75000"/>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4735" name="VEHICLE TRACKING"/>
          <p:cNvSpPr>
            <a:spLocks noChangeAspect="1"/>
          </p:cNvSpPr>
          <p:nvPr/>
        </p:nvSpPr>
        <p:spPr bwMode="auto">
          <a:xfrm>
            <a:off x="2841232" y="5224223"/>
            <a:ext cx="477179" cy="356981"/>
          </a:xfrm>
          <a:custGeom>
            <a:avLst/>
            <a:gdLst/>
            <a:ahLst/>
            <a:cxnLst/>
            <a:rect l="l" t="t" r="r" b="b"/>
            <a:pathLst>
              <a:path w="779174" h="582906">
                <a:moveTo>
                  <a:pt x="640768" y="456982"/>
                </a:moveTo>
                <a:lnTo>
                  <a:pt x="711568" y="456982"/>
                </a:lnTo>
                <a:cubicBezTo>
                  <a:pt x="726718" y="456982"/>
                  <a:pt x="739000" y="469264"/>
                  <a:pt x="739000" y="484414"/>
                </a:cubicBezTo>
                <a:cubicBezTo>
                  <a:pt x="739000" y="499564"/>
                  <a:pt x="726718" y="511846"/>
                  <a:pt x="711568" y="511846"/>
                </a:cubicBezTo>
                <a:lnTo>
                  <a:pt x="640768" y="511846"/>
                </a:lnTo>
                <a:cubicBezTo>
                  <a:pt x="625618" y="511846"/>
                  <a:pt x="613336" y="499564"/>
                  <a:pt x="613336" y="484414"/>
                </a:cubicBezTo>
                <a:cubicBezTo>
                  <a:pt x="613336" y="469264"/>
                  <a:pt x="625618" y="456982"/>
                  <a:pt x="640768" y="456982"/>
                </a:cubicBezTo>
                <a:close/>
                <a:moveTo>
                  <a:pt x="440533" y="392281"/>
                </a:moveTo>
                <a:cubicBezTo>
                  <a:pt x="423466" y="392281"/>
                  <a:pt x="409629" y="405409"/>
                  <a:pt x="409629" y="421602"/>
                </a:cubicBezTo>
                <a:cubicBezTo>
                  <a:pt x="409629" y="437795"/>
                  <a:pt x="423466" y="450923"/>
                  <a:pt x="440533" y="450923"/>
                </a:cubicBezTo>
                <a:cubicBezTo>
                  <a:pt x="457600" y="450923"/>
                  <a:pt x="471435" y="437795"/>
                  <a:pt x="471435" y="421602"/>
                </a:cubicBezTo>
                <a:cubicBezTo>
                  <a:pt x="471435" y="405409"/>
                  <a:pt x="457600" y="392281"/>
                  <a:pt x="440533" y="392281"/>
                </a:cubicBezTo>
                <a:close/>
                <a:moveTo>
                  <a:pt x="74716" y="392281"/>
                </a:moveTo>
                <a:cubicBezTo>
                  <a:pt x="57649" y="392281"/>
                  <a:pt x="43813" y="405409"/>
                  <a:pt x="43813" y="421602"/>
                </a:cubicBezTo>
                <a:cubicBezTo>
                  <a:pt x="43813" y="437795"/>
                  <a:pt x="57649" y="450923"/>
                  <a:pt x="74716" y="450923"/>
                </a:cubicBezTo>
                <a:cubicBezTo>
                  <a:pt x="91783" y="450923"/>
                  <a:pt x="105619" y="437795"/>
                  <a:pt x="105619" y="421602"/>
                </a:cubicBezTo>
                <a:cubicBezTo>
                  <a:pt x="105619" y="405409"/>
                  <a:pt x="91783" y="392281"/>
                  <a:pt x="74716" y="392281"/>
                </a:cubicBezTo>
                <a:close/>
                <a:moveTo>
                  <a:pt x="680516" y="320756"/>
                </a:moveTo>
                <a:cubicBezTo>
                  <a:pt x="655266" y="320756"/>
                  <a:pt x="634796" y="341226"/>
                  <a:pt x="634796" y="366476"/>
                </a:cubicBezTo>
                <a:cubicBezTo>
                  <a:pt x="634796" y="391726"/>
                  <a:pt x="655266" y="412196"/>
                  <a:pt x="680516" y="412196"/>
                </a:cubicBezTo>
                <a:cubicBezTo>
                  <a:pt x="705766" y="412196"/>
                  <a:pt x="726236" y="391726"/>
                  <a:pt x="726236" y="366476"/>
                </a:cubicBezTo>
                <a:cubicBezTo>
                  <a:pt x="726236" y="341226"/>
                  <a:pt x="705766" y="320756"/>
                  <a:pt x="680516" y="320756"/>
                </a:cubicBezTo>
                <a:close/>
                <a:moveTo>
                  <a:pt x="133583" y="194372"/>
                </a:moveTo>
                <a:cubicBezTo>
                  <a:pt x="123760" y="195437"/>
                  <a:pt x="107202" y="197301"/>
                  <a:pt x="99063" y="219136"/>
                </a:cubicBezTo>
                <a:lnTo>
                  <a:pt x="60670" y="331331"/>
                </a:lnTo>
                <a:lnTo>
                  <a:pt x="454632" y="331331"/>
                </a:lnTo>
                <a:lnTo>
                  <a:pt x="458839" y="332137"/>
                </a:lnTo>
                <a:lnTo>
                  <a:pt x="418166" y="220734"/>
                </a:lnTo>
                <a:cubicBezTo>
                  <a:pt x="410307" y="203958"/>
                  <a:pt x="408343" y="195171"/>
                  <a:pt x="379436" y="194372"/>
                </a:cubicBezTo>
                <a:close/>
                <a:moveTo>
                  <a:pt x="136109" y="172004"/>
                </a:moveTo>
                <a:lnTo>
                  <a:pt x="384488" y="172004"/>
                </a:lnTo>
                <a:cubicBezTo>
                  <a:pt x="419008" y="175200"/>
                  <a:pt x="423218" y="191975"/>
                  <a:pt x="432479" y="207952"/>
                </a:cubicBezTo>
                <a:lnTo>
                  <a:pt x="489525" y="343266"/>
                </a:lnTo>
                <a:cubicBezTo>
                  <a:pt x="504729" y="352772"/>
                  <a:pt x="514176" y="369253"/>
                  <a:pt x="514176" y="387826"/>
                </a:cubicBezTo>
                <a:lnTo>
                  <a:pt x="514176" y="450205"/>
                </a:lnTo>
                <a:cubicBezTo>
                  <a:pt x="514176" y="476177"/>
                  <a:pt x="495706" y="498055"/>
                  <a:pt x="470268" y="503705"/>
                </a:cubicBezTo>
                <a:lnTo>
                  <a:pt x="470268" y="559252"/>
                </a:lnTo>
                <a:cubicBezTo>
                  <a:pt x="470268" y="572315"/>
                  <a:pt x="459107" y="582906"/>
                  <a:pt x="445338" y="582906"/>
                </a:cubicBezTo>
                <a:lnTo>
                  <a:pt x="417811" y="582906"/>
                </a:lnTo>
                <a:cubicBezTo>
                  <a:pt x="404043" y="582906"/>
                  <a:pt x="392881" y="572315"/>
                  <a:pt x="392881" y="559252"/>
                </a:cubicBezTo>
                <a:lnTo>
                  <a:pt x="392881" y="506700"/>
                </a:lnTo>
                <a:lnTo>
                  <a:pt x="124415" y="506700"/>
                </a:lnTo>
                <a:lnTo>
                  <a:pt x="124415" y="559253"/>
                </a:lnTo>
                <a:cubicBezTo>
                  <a:pt x="124415" y="572316"/>
                  <a:pt x="113253" y="582906"/>
                  <a:pt x="99485" y="582906"/>
                </a:cubicBezTo>
                <a:lnTo>
                  <a:pt x="71958" y="582906"/>
                </a:lnTo>
                <a:cubicBezTo>
                  <a:pt x="58189" y="582906"/>
                  <a:pt x="47028" y="572316"/>
                  <a:pt x="47028" y="559253"/>
                </a:cubicBezTo>
                <a:lnTo>
                  <a:pt x="47028" y="504302"/>
                </a:lnTo>
                <a:cubicBezTo>
                  <a:pt x="20025" y="499853"/>
                  <a:pt x="0" y="477248"/>
                  <a:pt x="0" y="450205"/>
                </a:cubicBezTo>
                <a:lnTo>
                  <a:pt x="0" y="387826"/>
                </a:lnTo>
                <a:cubicBezTo>
                  <a:pt x="0" y="368466"/>
                  <a:pt x="10264" y="351380"/>
                  <a:pt x="26534" y="342061"/>
                </a:cubicBezTo>
                <a:lnTo>
                  <a:pt x="85592" y="202360"/>
                </a:lnTo>
                <a:cubicBezTo>
                  <a:pt x="97379" y="186650"/>
                  <a:pt x="106640" y="173335"/>
                  <a:pt x="136109" y="172004"/>
                </a:cubicBezTo>
                <a:close/>
                <a:moveTo>
                  <a:pt x="344827" y="0"/>
                </a:moveTo>
                <a:lnTo>
                  <a:pt x="748300" y="0"/>
                </a:lnTo>
                <a:cubicBezTo>
                  <a:pt x="759814" y="0"/>
                  <a:pt x="769148" y="9334"/>
                  <a:pt x="769148" y="20848"/>
                </a:cubicBezTo>
                <a:lnTo>
                  <a:pt x="769148" y="268862"/>
                </a:lnTo>
                <a:cubicBezTo>
                  <a:pt x="774898" y="269223"/>
                  <a:pt x="779174" y="274149"/>
                  <a:pt x="779174" y="280073"/>
                </a:cubicBezTo>
                <a:lnTo>
                  <a:pt x="779174" y="443168"/>
                </a:lnTo>
                <a:cubicBezTo>
                  <a:pt x="779174" y="449823"/>
                  <a:pt x="773779" y="455218"/>
                  <a:pt x="767124" y="455218"/>
                </a:cubicBezTo>
                <a:lnTo>
                  <a:pt x="523551" y="455218"/>
                </a:lnTo>
                <a:cubicBezTo>
                  <a:pt x="522461" y="437854"/>
                  <a:pt x="521167" y="424811"/>
                  <a:pt x="521167" y="369749"/>
                </a:cubicBezTo>
                <a:cubicBezTo>
                  <a:pt x="518187" y="352715"/>
                  <a:pt x="510532" y="348310"/>
                  <a:pt x="497199" y="338488"/>
                </a:cubicBezTo>
                <a:cubicBezTo>
                  <a:pt x="484856" y="310893"/>
                  <a:pt x="474350" y="284477"/>
                  <a:pt x="464289" y="260833"/>
                </a:cubicBezTo>
                <a:lnTo>
                  <a:pt x="710995" y="260833"/>
                </a:lnTo>
                <a:lnTo>
                  <a:pt x="693825" y="115562"/>
                </a:lnTo>
                <a:lnTo>
                  <a:pt x="384033" y="115562"/>
                </a:lnTo>
                <a:lnTo>
                  <a:pt x="379179" y="156629"/>
                </a:lnTo>
                <a:lnTo>
                  <a:pt x="323979" y="156629"/>
                </a:lnTo>
                <a:lnTo>
                  <a:pt x="323979" y="20848"/>
                </a:lnTo>
                <a:cubicBezTo>
                  <a:pt x="323979" y="9334"/>
                  <a:pt x="333313" y="0"/>
                  <a:pt x="344827"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ea typeface="Segoe UI" pitchFamily="34" charset="0"/>
              <a:cs typeface="Segoe UI" pitchFamily="34" charset="0"/>
            </a:endParaRPr>
          </a:p>
        </p:txBody>
      </p:sp>
      <p:sp>
        <p:nvSpPr>
          <p:cNvPr id="4736" name="GENERAL EQUIPMENT"/>
          <p:cNvSpPr/>
          <p:nvPr/>
        </p:nvSpPr>
        <p:spPr bwMode="auto">
          <a:xfrm rot="10800000">
            <a:off x="1864145" y="4290324"/>
            <a:ext cx="414398" cy="455938"/>
          </a:xfrm>
          <a:custGeom>
            <a:avLst/>
            <a:gdLst/>
            <a:ahLst/>
            <a:cxnLst/>
            <a:rect l="l" t="t" r="r" b="b"/>
            <a:pathLst>
              <a:path w="545205" h="599858">
                <a:moveTo>
                  <a:pt x="119064" y="118315"/>
                </a:moveTo>
                <a:cubicBezTo>
                  <a:pt x="135116" y="118315"/>
                  <a:pt x="148129" y="105302"/>
                  <a:pt x="148129" y="89250"/>
                </a:cubicBezTo>
                <a:cubicBezTo>
                  <a:pt x="148129" y="73198"/>
                  <a:pt x="135116" y="60185"/>
                  <a:pt x="119064" y="60185"/>
                </a:cubicBezTo>
                <a:lnTo>
                  <a:pt x="83840" y="60185"/>
                </a:lnTo>
                <a:cubicBezTo>
                  <a:pt x="67788" y="60185"/>
                  <a:pt x="54775" y="73198"/>
                  <a:pt x="54775" y="89250"/>
                </a:cubicBezTo>
                <a:cubicBezTo>
                  <a:pt x="54775" y="105302"/>
                  <a:pt x="67788" y="118315"/>
                  <a:pt x="83840" y="118315"/>
                </a:cubicBezTo>
                <a:close/>
                <a:moveTo>
                  <a:pt x="283530" y="118315"/>
                </a:moveTo>
                <a:cubicBezTo>
                  <a:pt x="299582" y="118315"/>
                  <a:pt x="312595" y="105302"/>
                  <a:pt x="312595" y="89250"/>
                </a:cubicBezTo>
                <a:cubicBezTo>
                  <a:pt x="312595" y="73198"/>
                  <a:pt x="299582" y="60185"/>
                  <a:pt x="283530" y="60185"/>
                </a:cubicBezTo>
                <a:lnTo>
                  <a:pt x="248306" y="60185"/>
                </a:lnTo>
                <a:cubicBezTo>
                  <a:pt x="232254" y="60185"/>
                  <a:pt x="219241" y="73198"/>
                  <a:pt x="219241" y="89250"/>
                </a:cubicBezTo>
                <a:cubicBezTo>
                  <a:pt x="219241" y="105302"/>
                  <a:pt x="232254" y="118315"/>
                  <a:pt x="248306" y="118315"/>
                </a:cubicBezTo>
                <a:close/>
                <a:moveTo>
                  <a:pt x="119064" y="192255"/>
                </a:moveTo>
                <a:cubicBezTo>
                  <a:pt x="135116" y="192255"/>
                  <a:pt x="148129" y="179242"/>
                  <a:pt x="148129" y="163190"/>
                </a:cubicBezTo>
                <a:cubicBezTo>
                  <a:pt x="148129" y="147138"/>
                  <a:pt x="135116" y="134125"/>
                  <a:pt x="119064" y="134125"/>
                </a:cubicBezTo>
                <a:lnTo>
                  <a:pt x="83840" y="134125"/>
                </a:lnTo>
                <a:cubicBezTo>
                  <a:pt x="67788" y="134125"/>
                  <a:pt x="54775" y="147138"/>
                  <a:pt x="54775" y="163190"/>
                </a:cubicBezTo>
                <a:cubicBezTo>
                  <a:pt x="54775" y="179242"/>
                  <a:pt x="67788" y="192255"/>
                  <a:pt x="83840" y="192255"/>
                </a:cubicBezTo>
                <a:close/>
                <a:moveTo>
                  <a:pt x="283530" y="192255"/>
                </a:moveTo>
                <a:cubicBezTo>
                  <a:pt x="299582" y="192255"/>
                  <a:pt x="312595" y="179242"/>
                  <a:pt x="312595" y="163190"/>
                </a:cubicBezTo>
                <a:cubicBezTo>
                  <a:pt x="312595" y="147138"/>
                  <a:pt x="299582" y="134125"/>
                  <a:pt x="283530" y="134125"/>
                </a:cubicBezTo>
                <a:lnTo>
                  <a:pt x="248306" y="134125"/>
                </a:lnTo>
                <a:cubicBezTo>
                  <a:pt x="232254" y="134125"/>
                  <a:pt x="219241" y="147138"/>
                  <a:pt x="219241" y="163190"/>
                </a:cubicBezTo>
                <a:cubicBezTo>
                  <a:pt x="219241" y="179242"/>
                  <a:pt x="232254" y="192255"/>
                  <a:pt x="248306" y="192255"/>
                </a:cubicBezTo>
                <a:close/>
                <a:moveTo>
                  <a:pt x="352828" y="333575"/>
                </a:moveTo>
                <a:lnTo>
                  <a:pt x="196284" y="225375"/>
                </a:lnTo>
                <a:lnTo>
                  <a:pt x="193890" y="333092"/>
                </a:lnTo>
                <a:lnTo>
                  <a:pt x="0" y="214716"/>
                </a:lnTo>
                <a:lnTo>
                  <a:pt x="0" y="56307"/>
                </a:lnTo>
                <a:cubicBezTo>
                  <a:pt x="0" y="25210"/>
                  <a:pt x="25210" y="0"/>
                  <a:pt x="56307" y="0"/>
                </a:cubicBezTo>
                <a:lnTo>
                  <a:pt x="148129" y="0"/>
                </a:lnTo>
                <a:lnTo>
                  <a:pt x="148129" y="25616"/>
                </a:lnTo>
                <a:cubicBezTo>
                  <a:pt x="148129" y="44708"/>
                  <a:pt x="163606" y="60185"/>
                  <a:pt x="182698" y="60185"/>
                </a:cubicBezTo>
                <a:cubicBezTo>
                  <a:pt x="201790" y="60185"/>
                  <a:pt x="217267" y="44708"/>
                  <a:pt x="217267" y="25616"/>
                </a:cubicBezTo>
                <a:lnTo>
                  <a:pt x="217267" y="0"/>
                </a:lnTo>
                <a:lnTo>
                  <a:pt x="488898" y="0"/>
                </a:lnTo>
                <a:cubicBezTo>
                  <a:pt x="519995" y="0"/>
                  <a:pt x="545205" y="25210"/>
                  <a:pt x="545205" y="56307"/>
                </a:cubicBezTo>
                <a:lnTo>
                  <a:pt x="545205" y="65385"/>
                </a:lnTo>
                <a:lnTo>
                  <a:pt x="541701" y="63933"/>
                </a:lnTo>
                <a:lnTo>
                  <a:pt x="376241" y="63933"/>
                </a:lnTo>
                <a:cubicBezTo>
                  <a:pt x="363310" y="63933"/>
                  <a:pt x="352828" y="74415"/>
                  <a:pt x="352828" y="87346"/>
                </a:cubicBezTo>
                <a:close/>
                <a:moveTo>
                  <a:pt x="516459" y="433569"/>
                </a:moveTo>
                <a:lnTo>
                  <a:pt x="401482" y="433569"/>
                </a:lnTo>
                <a:cubicBezTo>
                  <a:pt x="385607" y="433569"/>
                  <a:pt x="372737" y="420699"/>
                  <a:pt x="372737" y="404824"/>
                </a:cubicBezTo>
                <a:lnTo>
                  <a:pt x="372737" y="95735"/>
                </a:lnTo>
                <a:lnTo>
                  <a:pt x="545204" y="95735"/>
                </a:lnTo>
                <a:lnTo>
                  <a:pt x="545204" y="404824"/>
                </a:lnTo>
                <a:cubicBezTo>
                  <a:pt x="545204" y="420699"/>
                  <a:pt x="532334" y="433569"/>
                  <a:pt x="516459" y="433569"/>
                </a:cubicBezTo>
                <a:close/>
                <a:moveTo>
                  <a:pt x="398770" y="599858"/>
                </a:moveTo>
                <a:lnTo>
                  <a:pt x="323926" y="599858"/>
                </a:lnTo>
                <a:lnTo>
                  <a:pt x="323926" y="525014"/>
                </a:lnTo>
                <a:cubicBezTo>
                  <a:pt x="323926" y="483679"/>
                  <a:pt x="357435" y="450170"/>
                  <a:pt x="398770" y="450170"/>
                </a:cubicBezTo>
                <a:lnTo>
                  <a:pt x="473614" y="450170"/>
                </a:lnTo>
                <a:lnTo>
                  <a:pt x="473614" y="525014"/>
                </a:lnTo>
                <a:cubicBezTo>
                  <a:pt x="473614" y="566349"/>
                  <a:pt x="440105" y="599858"/>
                  <a:pt x="398770" y="599858"/>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a:gradFill>
                <a:gsLst>
                  <a:gs pos="0">
                    <a:srgbClr val="FFFFFF"/>
                  </a:gs>
                  <a:gs pos="100000">
                    <a:srgbClr val="FFFFFF"/>
                  </a:gs>
                </a:gsLst>
                <a:lin ang="5400000" scaled="0"/>
              </a:gradFill>
              <a:ea typeface="Segoe UI" pitchFamily="34" charset="0"/>
              <a:cs typeface="Segoe UI" pitchFamily="34" charset="0"/>
            </a:endParaRPr>
          </a:p>
        </p:txBody>
      </p:sp>
      <p:sp>
        <p:nvSpPr>
          <p:cNvPr id="4737" name="SMART HOME AUTOMATION"/>
          <p:cNvSpPr>
            <a:spLocks noChangeAspect="1"/>
          </p:cNvSpPr>
          <p:nvPr/>
        </p:nvSpPr>
        <p:spPr bwMode="auto">
          <a:xfrm>
            <a:off x="3866012" y="3961037"/>
            <a:ext cx="394851" cy="336929"/>
          </a:xfrm>
          <a:custGeom>
            <a:avLst/>
            <a:gdLst/>
            <a:ahLst/>
            <a:cxnLst/>
            <a:rect l="l" t="t" r="r" b="b"/>
            <a:pathLst>
              <a:path w="3961748" h="3381467">
                <a:moveTo>
                  <a:pt x="541147" y="1565297"/>
                </a:moveTo>
                <a:lnTo>
                  <a:pt x="3479089" y="1565297"/>
                </a:lnTo>
                <a:lnTo>
                  <a:pt x="3479089" y="3381467"/>
                </a:lnTo>
                <a:lnTo>
                  <a:pt x="2442856" y="3381467"/>
                </a:lnTo>
                <a:lnTo>
                  <a:pt x="2442856" y="2176803"/>
                </a:lnTo>
                <a:cubicBezTo>
                  <a:pt x="2442856" y="2097134"/>
                  <a:pt x="2378275" y="2032554"/>
                  <a:pt x="2298607" y="2032554"/>
                </a:cubicBezTo>
                <a:lnTo>
                  <a:pt x="1721629" y="2032554"/>
                </a:lnTo>
                <a:cubicBezTo>
                  <a:pt x="1641961" y="2032554"/>
                  <a:pt x="1577381" y="2097134"/>
                  <a:pt x="1577381" y="2176803"/>
                </a:cubicBezTo>
                <a:lnTo>
                  <a:pt x="1577381" y="3381467"/>
                </a:lnTo>
                <a:lnTo>
                  <a:pt x="541147" y="3381467"/>
                </a:lnTo>
                <a:close/>
                <a:moveTo>
                  <a:pt x="2010118" y="719918"/>
                </a:moveTo>
                <a:lnTo>
                  <a:pt x="3479089" y="1564763"/>
                </a:lnTo>
                <a:lnTo>
                  <a:pt x="541147" y="1564763"/>
                </a:lnTo>
                <a:close/>
                <a:moveTo>
                  <a:pt x="2012261" y="0"/>
                </a:moveTo>
                <a:lnTo>
                  <a:pt x="2790841" y="472939"/>
                </a:lnTo>
                <a:lnTo>
                  <a:pt x="2790841" y="267921"/>
                </a:lnTo>
                <a:lnTo>
                  <a:pt x="3376760" y="267921"/>
                </a:lnTo>
                <a:lnTo>
                  <a:pt x="3376760" y="828849"/>
                </a:lnTo>
                <a:lnTo>
                  <a:pt x="3856301" y="1120140"/>
                </a:lnTo>
                <a:cubicBezTo>
                  <a:pt x="3999811" y="1333500"/>
                  <a:pt x="3979491" y="1501140"/>
                  <a:pt x="3898211" y="1691640"/>
                </a:cubicBezTo>
                <a:lnTo>
                  <a:pt x="2035121" y="556260"/>
                </a:lnTo>
                <a:lnTo>
                  <a:pt x="57731" y="1687830"/>
                </a:lnTo>
                <a:cubicBezTo>
                  <a:pt x="10741" y="1578610"/>
                  <a:pt x="-70539" y="1362710"/>
                  <a:pt x="122501" y="112014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099" fontAlgn="base">
              <a:spcBef>
                <a:spcPct val="0"/>
              </a:spcBef>
              <a:spcAft>
                <a:spcPct val="0"/>
              </a:spcAft>
            </a:pPr>
            <a:endParaRPr lang="en-US" spc="-50" dirty="0" err="1">
              <a:gradFill>
                <a:gsLst>
                  <a:gs pos="0">
                    <a:srgbClr val="FFFFFF"/>
                  </a:gs>
                  <a:gs pos="100000">
                    <a:srgbClr val="FFFFFF"/>
                  </a:gs>
                </a:gsLst>
                <a:lin ang="5400000" scaled="0"/>
              </a:gradFill>
              <a:ea typeface="Segoe UI" pitchFamily="34" charset="0"/>
              <a:cs typeface="Segoe UI" pitchFamily="34" charset="0"/>
            </a:endParaRPr>
          </a:p>
        </p:txBody>
      </p:sp>
      <p:sp>
        <p:nvSpPr>
          <p:cNvPr id="4738" name="HUMIDITY SENSOR"/>
          <p:cNvSpPr/>
          <p:nvPr/>
        </p:nvSpPr>
        <p:spPr bwMode="auto">
          <a:xfrm>
            <a:off x="3386645" y="3396963"/>
            <a:ext cx="279415" cy="396858"/>
          </a:xfrm>
          <a:custGeom>
            <a:avLst/>
            <a:gdLst/>
            <a:ahLst/>
            <a:cxnLst/>
            <a:rect l="l" t="t" r="r" b="b"/>
            <a:pathLst>
              <a:path w="309190" h="439148">
                <a:moveTo>
                  <a:pt x="154156" y="112320"/>
                </a:moveTo>
                <a:cubicBezTo>
                  <a:pt x="141776" y="115279"/>
                  <a:pt x="125664" y="128750"/>
                  <a:pt x="111718" y="149991"/>
                </a:cubicBezTo>
                <a:cubicBezTo>
                  <a:pt x="93122" y="178311"/>
                  <a:pt x="59212" y="245828"/>
                  <a:pt x="53500" y="282890"/>
                </a:cubicBezTo>
                <a:cubicBezTo>
                  <a:pt x="47788" y="319951"/>
                  <a:pt x="65155" y="353144"/>
                  <a:pt x="77447" y="372359"/>
                </a:cubicBezTo>
                <a:cubicBezTo>
                  <a:pt x="89740" y="391573"/>
                  <a:pt x="120657" y="404894"/>
                  <a:pt x="127251" y="398177"/>
                </a:cubicBezTo>
                <a:cubicBezTo>
                  <a:pt x="133845" y="391460"/>
                  <a:pt x="132394" y="395559"/>
                  <a:pt x="107012" y="357059"/>
                </a:cubicBezTo>
                <a:cubicBezTo>
                  <a:pt x="56847" y="280971"/>
                  <a:pt x="124950" y="205018"/>
                  <a:pt x="143109" y="174822"/>
                </a:cubicBezTo>
                <a:cubicBezTo>
                  <a:pt x="161268" y="144626"/>
                  <a:pt x="177390" y="118771"/>
                  <a:pt x="165074" y="112966"/>
                </a:cubicBezTo>
                <a:cubicBezTo>
                  <a:pt x="161995" y="111515"/>
                  <a:pt x="158283" y="111333"/>
                  <a:pt x="154156" y="112320"/>
                </a:cubicBezTo>
                <a:close/>
                <a:moveTo>
                  <a:pt x="154411" y="0"/>
                </a:moveTo>
                <a:cubicBezTo>
                  <a:pt x="215532" y="96627"/>
                  <a:pt x="316059" y="249892"/>
                  <a:pt x="308820" y="297121"/>
                </a:cubicBezTo>
                <a:cubicBezTo>
                  <a:pt x="308820" y="375560"/>
                  <a:pt x="239688" y="439148"/>
                  <a:pt x="154410" y="439148"/>
                </a:cubicBezTo>
                <a:cubicBezTo>
                  <a:pt x="69132" y="439148"/>
                  <a:pt x="0" y="375560"/>
                  <a:pt x="0" y="297121"/>
                </a:cubicBezTo>
                <a:cubicBezTo>
                  <a:pt x="0" y="223930"/>
                  <a:pt x="134511" y="44682"/>
                  <a:pt x="154411"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a:gradFill>
                <a:gsLst>
                  <a:gs pos="0">
                    <a:srgbClr val="FFFFFF"/>
                  </a:gs>
                  <a:gs pos="100000">
                    <a:srgbClr val="FFFFFF"/>
                  </a:gs>
                </a:gsLst>
                <a:lin ang="5400000" scaled="0"/>
              </a:gradFill>
              <a:ea typeface="Segoe UI" pitchFamily="34" charset="0"/>
              <a:cs typeface="Segoe UI" pitchFamily="34" charset="0"/>
            </a:endParaRPr>
          </a:p>
        </p:txBody>
      </p:sp>
      <p:sp>
        <p:nvSpPr>
          <p:cNvPr id="4739" name="DASHBOARDS &amp; REPORTS"/>
          <p:cNvSpPr>
            <a:spLocks noChangeAspect="1"/>
          </p:cNvSpPr>
          <p:nvPr/>
        </p:nvSpPr>
        <p:spPr>
          <a:xfrm>
            <a:off x="4074274" y="3043957"/>
            <a:ext cx="529540" cy="433816"/>
          </a:xfrm>
          <a:custGeom>
            <a:avLst/>
            <a:gdLst/>
            <a:ahLst/>
            <a:cxnLst/>
            <a:rect l="l" t="t" r="r" b="b"/>
            <a:pathLst>
              <a:path w="766615" h="628036">
                <a:moveTo>
                  <a:pt x="195958" y="583221"/>
                </a:moveTo>
                <a:lnTo>
                  <a:pt x="183627" y="604057"/>
                </a:lnTo>
                <a:lnTo>
                  <a:pt x="322534" y="604057"/>
                </a:lnTo>
                <a:lnTo>
                  <a:pt x="310203" y="583221"/>
                </a:lnTo>
                <a:close/>
                <a:moveTo>
                  <a:pt x="37816" y="543301"/>
                </a:moveTo>
                <a:lnTo>
                  <a:pt x="468345" y="543301"/>
                </a:lnTo>
                <a:lnTo>
                  <a:pt x="506161" y="607200"/>
                </a:lnTo>
                <a:lnTo>
                  <a:pt x="505935" y="607200"/>
                </a:lnTo>
                <a:lnTo>
                  <a:pt x="505935" y="628036"/>
                </a:lnTo>
                <a:lnTo>
                  <a:pt x="225" y="628036"/>
                </a:lnTo>
                <a:lnTo>
                  <a:pt x="225" y="607200"/>
                </a:lnTo>
                <a:lnTo>
                  <a:pt x="0" y="607200"/>
                </a:lnTo>
                <a:close/>
                <a:moveTo>
                  <a:pt x="477275" y="278620"/>
                </a:moveTo>
                <a:cubicBezTo>
                  <a:pt x="478425" y="279893"/>
                  <a:pt x="479647" y="281096"/>
                  <a:pt x="480976" y="282187"/>
                </a:cubicBezTo>
                <a:lnTo>
                  <a:pt x="448483" y="315904"/>
                </a:lnTo>
                <a:lnTo>
                  <a:pt x="494358" y="363615"/>
                </a:lnTo>
                <a:lnTo>
                  <a:pt x="498862" y="358519"/>
                </a:lnTo>
                <a:lnTo>
                  <a:pt x="502633" y="352989"/>
                </a:lnTo>
                <a:lnTo>
                  <a:pt x="505880" y="347242"/>
                </a:lnTo>
                <a:lnTo>
                  <a:pt x="508603" y="341278"/>
                </a:lnTo>
                <a:lnTo>
                  <a:pt x="510697" y="335097"/>
                </a:lnTo>
                <a:lnTo>
                  <a:pt x="512164" y="328807"/>
                </a:lnTo>
                <a:lnTo>
                  <a:pt x="513002" y="322301"/>
                </a:lnTo>
                <a:lnTo>
                  <a:pt x="513316" y="315904"/>
                </a:lnTo>
                <a:lnTo>
                  <a:pt x="513002" y="309397"/>
                </a:lnTo>
                <a:lnTo>
                  <a:pt x="512165" y="303114"/>
                </a:lnTo>
                <a:cubicBezTo>
                  <a:pt x="514502" y="304282"/>
                  <a:pt x="516925" y="305280"/>
                  <a:pt x="519435" y="306066"/>
                </a:cubicBezTo>
                <a:lnTo>
                  <a:pt x="519683" y="307947"/>
                </a:lnTo>
                <a:lnTo>
                  <a:pt x="520063" y="315892"/>
                </a:lnTo>
                <a:lnTo>
                  <a:pt x="519683" y="323703"/>
                </a:lnTo>
                <a:lnTo>
                  <a:pt x="518671" y="331648"/>
                </a:lnTo>
                <a:lnTo>
                  <a:pt x="516899" y="339328"/>
                </a:lnTo>
                <a:lnTo>
                  <a:pt x="514368" y="346875"/>
                </a:lnTo>
                <a:lnTo>
                  <a:pt x="511079" y="354157"/>
                </a:lnTo>
                <a:lnTo>
                  <a:pt x="507156" y="361174"/>
                </a:lnTo>
                <a:lnTo>
                  <a:pt x="502601" y="367927"/>
                </a:lnTo>
                <a:lnTo>
                  <a:pt x="497160" y="374150"/>
                </a:lnTo>
                <a:lnTo>
                  <a:pt x="441736" y="315892"/>
                </a:lnTo>
                <a:close/>
                <a:moveTo>
                  <a:pt x="52010" y="262276"/>
                </a:moveTo>
                <a:lnTo>
                  <a:pt x="253080" y="262276"/>
                </a:lnTo>
                <a:lnTo>
                  <a:pt x="253080" y="276981"/>
                </a:lnTo>
                <a:lnTo>
                  <a:pt x="54728" y="276981"/>
                </a:lnTo>
                <a:lnTo>
                  <a:pt x="54728" y="524773"/>
                </a:lnTo>
                <a:lnTo>
                  <a:pt x="451434" y="524773"/>
                </a:lnTo>
                <a:lnTo>
                  <a:pt x="451434" y="445156"/>
                </a:lnTo>
                <a:lnTo>
                  <a:pt x="467472" y="445156"/>
                </a:lnTo>
                <a:lnTo>
                  <a:pt x="467472" y="537065"/>
                </a:lnTo>
                <a:lnTo>
                  <a:pt x="38688" y="537065"/>
                </a:lnTo>
                <a:lnTo>
                  <a:pt x="38688" y="275598"/>
                </a:lnTo>
                <a:cubicBezTo>
                  <a:pt x="38688" y="268240"/>
                  <a:pt x="44652" y="262276"/>
                  <a:pt x="52010" y="262276"/>
                </a:cubicBezTo>
                <a:close/>
                <a:moveTo>
                  <a:pt x="658996" y="254299"/>
                </a:moveTo>
                <a:lnTo>
                  <a:pt x="766615" y="360661"/>
                </a:lnTo>
                <a:lnTo>
                  <a:pt x="724373" y="403381"/>
                </a:lnTo>
                <a:lnTo>
                  <a:pt x="617073" y="297336"/>
                </a:lnTo>
                <a:lnTo>
                  <a:pt x="631746" y="282274"/>
                </a:lnTo>
                <a:cubicBezTo>
                  <a:pt x="636636" y="279610"/>
                  <a:pt x="640463" y="275737"/>
                  <a:pt x="642983" y="270738"/>
                </a:cubicBezTo>
                <a:cubicBezTo>
                  <a:pt x="650870" y="267401"/>
                  <a:pt x="655267" y="261061"/>
                  <a:pt x="658996" y="254299"/>
                </a:cubicBezTo>
                <a:close/>
                <a:moveTo>
                  <a:pt x="437677" y="245674"/>
                </a:moveTo>
                <a:lnTo>
                  <a:pt x="444040" y="246018"/>
                </a:lnTo>
                <a:lnTo>
                  <a:pt x="450622" y="246935"/>
                </a:lnTo>
                <a:lnTo>
                  <a:pt x="456214" y="248347"/>
                </a:lnTo>
                <a:cubicBezTo>
                  <a:pt x="460845" y="258291"/>
                  <a:pt x="466972" y="267389"/>
                  <a:pt x="474321" y="275361"/>
                </a:cubicBezTo>
                <a:lnTo>
                  <a:pt x="434418" y="317427"/>
                </a:lnTo>
                <a:lnTo>
                  <a:pt x="484188" y="368953"/>
                </a:lnTo>
                <a:lnTo>
                  <a:pt x="480570" y="372413"/>
                </a:lnTo>
                <a:lnTo>
                  <a:pt x="475086" y="376542"/>
                </a:lnTo>
                <a:lnTo>
                  <a:pt x="469271" y="380098"/>
                </a:lnTo>
                <a:lnTo>
                  <a:pt x="463238" y="383195"/>
                </a:lnTo>
                <a:lnTo>
                  <a:pt x="456985" y="385489"/>
                </a:lnTo>
                <a:lnTo>
                  <a:pt x="450622" y="386980"/>
                </a:lnTo>
                <a:lnTo>
                  <a:pt x="444040" y="388012"/>
                </a:lnTo>
                <a:lnTo>
                  <a:pt x="437677" y="388356"/>
                </a:lnTo>
                <a:lnTo>
                  <a:pt x="431095" y="388012"/>
                </a:lnTo>
                <a:lnTo>
                  <a:pt x="424733" y="386980"/>
                </a:lnTo>
                <a:lnTo>
                  <a:pt x="418261" y="385489"/>
                </a:lnTo>
                <a:lnTo>
                  <a:pt x="412008" y="383195"/>
                </a:lnTo>
                <a:lnTo>
                  <a:pt x="405974" y="380098"/>
                </a:lnTo>
                <a:lnTo>
                  <a:pt x="400270" y="376542"/>
                </a:lnTo>
                <a:lnTo>
                  <a:pt x="394785" y="372413"/>
                </a:lnTo>
                <a:lnTo>
                  <a:pt x="389629" y="367481"/>
                </a:lnTo>
                <a:lnTo>
                  <a:pt x="384911" y="362091"/>
                </a:lnTo>
                <a:lnTo>
                  <a:pt x="380852" y="356241"/>
                </a:lnTo>
                <a:lnTo>
                  <a:pt x="377452" y="350162"/>
                </a:lnTo>
                <a:lnTo>
                  <a:pt x="374600" y="343854"/>
                </a:lnTo>
                <a:lnTo>
                  <a:pt x="372515" y="337316"/>
                </a:lnTo>
                <a:lnTo>
                  <a:pt x="370870" y="330664"/>
                </a:lnTo>
                <a:lnTo>
                  <a:pt x="369883" y="323782"/>
                </a:lnTo>
                <a:lnTo>
                  <a:pt x="369663" y="317015"/>
                </a:lnTo>
                <a:lnTo>
                  <a:pt x="369883" y="310133"/>
                </a:lnTo>
                <a:lnTo>
                  <a:pt x="370870" y="303481"/>
                </a:lnTo>
                <a:lnTo>
                  <a:pt x="372515" y="296714"/>
                </a:lnTo>
                <a:lnTo>
                  <a:pt x="374600" y="290061"/>
                </a:lnTo>
                <a:lnTo>
                  <a:pt x="377452" y="283868"/>
                </a:lnTo>
                <a:lnTo>
                  <a:pt x="380852" y="277789"/>
                </a:lnTo>
                <a:lnTo>
                  <a:pt x="384911" y="271939"/>
                </a:lnTo>
                <a:lnTo>
                  <a:pt x="389629" y="266664"/>
                </a:lnTo>
                <a:lnTo>
                  <a:pt x="394785" y="261731"/>
                </a:lnTo>
                <a:lnTo>
                  <a:pt x="400270" y="257487"/>
                </a:lnTo>
                <a:lnTo>
                  <a:pt x="405974" y="253817"/>
                </a:lnTo>
                <a:lnTo>
                  <a:pt x="412008" y="250835"/>
                </a:lnTo>
                <a:lnTo>
                  <a:pt x="418261" y="248541"/>
                </a:lnTo>
                <a:lnTo>
                  <a:pt x="424733" y="246935"/>
                </a:lnTo>
                <a:lnTo>
                  <a:pt x="431095" y="246018"/>
                </a:lnTo>
                <a:close/>
                <a:moveTo>
                  <a:pt x="333307" y="159300"/>
                </a:moveTo>
                <a:lnTo>
                  <a:pt x="363987" y="159300"/>
                </a:lnTo>
                <a:lnTo>
                  <a:pt x="363987" y="204300"/>
                </a:lnTo>
                <a:lnTo>
                  <a:pt x="333307" y="204300"/>
                </a:lnTo>
                <a:close/>
                <a:moveTo>
                  <a:pt x="428343" y="132714"/>
                </a:moveTo>
                <a:lnTo>
                  <a:pt x="459022" y="132714"/>
                </a:lnTo>
                <a:lnTo>
                  <a:pt x="459022" y="143376"/>
                </a:lnTo>
                <a:cubicBezTo>
                  <a:pt x="449954" y="159764"/>
                  <a:pt x="444811" y="178627"/>
                  <a:pt x="444811" y="198694"/>
                </a:cubicBezTo>
                <a:cubicBezTo>
                  <a:pt x="444811" y="200576"/>
                  <a:pt x="444856" y="202447"/>
                  <a:pt x="445093" y="204300"/>
                </a:cubicBezTo>
                <a:lnTo>
                  <a:pt x="428343" y="204300"/>
                </a:lnTo>
                <a:close/>
                <a:moveTo>
                  <a:pt x="550509" y="119160"/>
                </a:moveTo>
                <a:lnTo>
                  <a:pt x="535472" y="121920"/>
                </a:lnTo>
                <a:lnTo>
                  <a:pt x="535472" y="138102"/>
                </a:lnTo>
                <a:lnTo>
                  <a:pt x="535931" y="235036"/>
                </a:lnTo>
                <a:lnTo>
                  <a:pt x="491809" y="235036"/>
                </a:lnTo>
                <a:lnTo>
                  <a:pt x="491809" y="155242"/>
                </a:lnTo>
                <a:cubicBezTo>
                  <a:pt x="483794" y="167480"/>
                  <a:pt x="479236" y="182126"/>
                  <a:pt x="479236" y="197836"/>
                </a:cubicBezTo>
                <a:cubicBezTo>
                  <a:pt x="479236" y="241747"/>
                  <a:pt x="514842" y="277344"/>
                  <a:pt x="558764" y="277344"/>
                </a:cubicBezTo>
                <a:cubicBezTo>
                  <a:pt x="602687" y="277344"/>
                  <a:pt x="638293" y="241747"/>
                  <a:pt x="638293" y="197836"/>
                </a:cubicBezTo>
                <a:cubicBezTo>
                  <a:pt x="638293" y="166888"/>
                  <a:pt x="620607" y="140070"/>
                  <a:pt x="594631" y="127241"/>
                </a:cubicBezTo>
                <a:lnTo>
                  <a:pt x="594631" y="234111"/>
                </a:lnTo>
                <a:lnTo>
                  <a:pt x="550509" y="234111"/>
                </a:lnTo>
                <a:close/>
                <a:moveTo>
                  <a:pt x="380825" y="110699"/>
                </a:moveTo>
                <a:lnTo>
                  <a:pt x="411505" y="110699"/>
                </a:lnTo>
                <a:lnTo>
                  <a:pt x="411505" y="204300"/>
                </a:lnTo>
                <a:lnTo>
                  <a:pt x="380825" y="204300"/>
                </a:lnTo>
                <a:close/>
                <a:moveTo>
                  <a:pt x="479281" y="98693"/>
                </a:moveTo>
                <a:lnTo>
                  <a:pt x="503351" y="98693"/>
                </a:lnTo>
                <a:cubicBezTo>
                  <a:pt x="492636" y="104641"/>
                  <a:pt x="483012" y="112315"/>
                  <a:pt x="474895" y="121394"/>
                </a:cubicBezTo>
                <a:cubicBezTo>
                  <a:pt x="476138" y="119541"/>
                  <a:pt x="477686" y="117968"/>
                  <a:pt x="479281" y="116444"/>
                </a:cubicBezTo>
                <a:close/>
                <a:moveTo>
                  <a:pt x="559096" y="86600"/>
                </a:moveTo>
                <a:cubicBezTo>
                  <a:pt x="620825" y="86600"/>
                  <a:pt x="670867" y="136786"/>
                  <a:pt x="670867" y="198694"/>
                </a:cubicBezTo>
                <a:cubicBezTo>
                  <a:pt x="670867" y="226533"/>
                  <a:pt x="660747" y="252003"/>
                  <a:pt x="642983" y="270738"/>
                </a:cubicBezTo>
                <a:lnTo>
                  <a:pt x="631746" y="282274"/>
                </a:lnTo>
                <a:cubicBezTo>
                  <a:pt x="612904" y="300377"/>
                  <a:pt x="587212" y="310788"/>
                  <a:pt x="559096" y="310788"/>
                </a:cubicBezTo>
                <a:cubicBezTo>
                  <a:pt x="497367" y="310788"/>
                  <a:pt x="447325" y="260602"/>
                  <a:pt x="447325" y="198694"/>
                </a:cubicBezTo>
                <a:cubicBezTo>
                  <a:pt x="447325" y="136786"/>
                  <a:pt x="497367" y="86600"/>
                  <a:pt x="559096" y="86600"/>
                </a:cubicBezTo>
                <a:close/>
                <a:moveTo>
                  <a:pt x="466911" y="41600"/>
                </a:moveTo>
                <a:lnTo>
                  <a:pt x="477151" y="41600"/>
                </a:lnTo>
                <a:lnTo>
                  <a:pt x="477151" y="64334"/>
                </a:lnTo>
                <a:lnTo>
                  <a:pt x="466911" y="64334"/>
                </a:lnTo>
                <a:close/>
                <a:moveTo>
                  <a:pt x="448863" y="41600"/>
                </a:moveTo>
                <a:lnTo>
                  <a:pt x="459103" y="41600"/>
                </a:lnTo>
                <a:lnTo>
                  <a:pt x="459103" y="64334"/>
                </a:lnTo>
                <a:lnTo>
                  <a:pt x="448863" y="64334"/>
                </a:lnTo>
                <a:close/>
                <a:moveTo>
                  <a:pt x="430815" y="41600"/>
                </a:moveTo>
                <a:lnTo>
                  <a:pt x="441055" y="41600"/>
                </a:lnTo>
                <a:lnTo>
                  <a:pt x="441055" y="64334"/>
                </a:lnTo>
                <a:lnTo>
                  <a:pt x="430815" y="64334"/>
                </a:lnTo>
                <a:close/>
                <a:moveTo>
                  <a:pt x="412767" y="41600"/>
                </a:moveTo>
                <a:lnTo>
                  <a:pt x="423007" y="41600"/>
                </a:lnTo>
                <a:lnTo>
                  <a:pt x="423007" y="64334"/>
                </a:lnTo>
                <a:lnTo>
                  <a:pt x="412767" y="64334"/>
                </a:lnTo>
                <a:close/>
                <a:moveTo>
                  <a:pt x="394719" y="41600"/>
                </a:moveTo>
                <a:lnTo>
                  <a:pt x="404959" y="41600"/>
                </a:lnTo>
                <a:lnTo>
                  <a:pt x="404959" y="64334"/>
                </a:lnTo>
                <a:lnTo>
                  <a:pt x="394719" y="64334"/>
                </a:lnTo>
                <a:close/>
                <a:moveTo>
                  <a:pt x="376671" y="41600"/>
                </a:moveTo>
                <a:lnTo>
                  <a:pt x="386911" y="41600"/>
                </a:lnTo>
                <a:lnTo>
                  <a:pt x="386911" y="64334"/>
                </a:lnTo>
                <a:lnTo>
                  <a:pt x="376671" y="64334"/>
                </a:lnTo>
                <a:close/>
                <a:moveTo>
                  <a:pt x="358623" y="41600"/>
                </a:moveTo>
                <a:lnTo>
                  <a:pt x="368863" y="41600"/>
                </a:lnTo>
                <a:lnTo>
                  <a:pt x="368863" y="64334"/>
                </a:lnTo>
                <a:lnTo>
                  <a:pt x="358623" y="64334"/>
                </a:lnTo>
                <a:close/>
                <a:moveTo>
                  <a:pt x="340575" y="41600"/>
                </a:moveTo>
                <a:lnTo>
                  <a:pt x="350814" y="41600"/>
                </a:lnTo>
                <a:lnTo>
                  <a:pt x="350814" y="64334"/>
                </a:lnTo>
                <a:lnTo>
                  <a:pt x="340575" y="64334"/>
                </a:lnTo>
                <a:close/>
                <a:moveTo>
                  <a:pt x="282528" y="0"/>
                </a:moveTo>
                <a:lnTo>
                  <a:pt x="603427" y="0"/>
                </a:lnTo>
                <a:lnTo>
                  <a:pt x="603427" y="93037"/>
                </a:lnTo>
                <a:cubicBezTo>
                  <a:pt x="589798" y="87270"/>
                  <a:pt x="574818" y="84087"/>
                  <a:pt x="559096" y="84087"/>
                </a:cubicBezTo>
                <a:cubicBezTo>
                  <a:pt x="548038" y="84087"/>
                  <a:pt x="537346" y="85662"/>
                  <a:pt x="527258" y="88686"/>
                </a:cubicBezTo>
                <a:lnTo>
                  <a:pt x="527258" y="71912"/>
                </a:lnTo>
                <a:lnTo>
                  <a:pt x="557937" y="71912"/>
                </a:lnTo>
                <a:lnTo>
                  <a:pt x="557937" y="84047"/>
                </a:lnTo>
                <a:cubicBezTo>
                  <a:pt x="558212" y="83965"/>
                  <a:pt x="558488" y="83964"/>
                  <a:pt x="558764" y="83964"/>
                </a:cubicBezTo>
                <a:cubicBezTo>
                  <a:pt x="566737" y="83964"/>
                  <a:pt x="574519" y="84783"/>
                  <a:pt x="582023" y="86372"/>
                </a:cubicBezTo>
                <a:lnTo>
                  <a:pt x="582023" y="21398"/>
                </a:lnTo>
                <a:lnTo>
                  <a:pt x="303932" y="21398"/>
                </a:lnTo>
                <a:lnTo>
                  <a:pt x="303932" y="398483"/>
                </a:lnTo>
                <a:lnTo>
                  <a:pt x="582023" y="398483"/>
                </a:lnTo>
                <a:lnTo>
                  <a:pt x="582023" y="320911"/>
                </a:lnTo>
                <a:cubicBezTo>
                  <a:pt x="589533" y="320269"/>
                  <a:pt x="596723" y="318307"/>
                  <a:pt x="603427" y="315197"/>
                </a:cubicBezTo>
                <a:lnTo>
                  <a:pt x="603427" y="419881"/>
                </a:lnTo>
                <a:lnTo>
                  <a:pt x="282528" y="419881"/>
                </a:lnTo>
                <a:close/>
              </a:path>
            </a:pathLst>
          </a:custGeom>
          <a:solidFill>
            <a:schemeClr val="bg1"/>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en-US" kern="0">
              <a:solidFill>
                <a:srgbClr val="B4A0FF"/>
              </a:solidFill>
              <a:latin typeface="Segoe"/>
            </a:endParaRPr>
          </a:p>
        </p:txBody>
      </p:sp>
      <p:sp>
        <p:nvSpPr>
          <p:cNvPr id="4741" name="Freeform 4740"/>
          <p:cNvSpPr>
            <a:spLocks noChangeAspect="1"/>
          </p:cNvSpPr>
          <p:nvPr/>
        </p:nvSpPr>
        <p:spPr bwMode="auto">
          <a:xfrm rot="5400000">
            <a:off x="1956473" y="3448096"/>
            <a:ext cx="380763" cy="223162"/>
          </a:xfrm>
          <a:custGeom>
            <a:avLst/>
            <a:gdLst>
              <a:gd name="connsiteX0" fmla="*/ 607405 w 877101"/>
              <a:gd name="connsiteY0" fmla="*/ 425935 h 514062"/>
              <a:gd name="connsiteX1" fmla="*/ 610453 w 877101"/>
              <a:gd name="connsiteY1" fmla="*/ 428983 h 514062"/>
              <a:gd name="connsiteX2" fmla="*/ 622645 w 877101"/>
              <a:gd name="connsiteY2" fmla="*/ 428983 h 514062"/>
              <a:gd name="connsiteX3" fmla="*/ 625693 w 877101"/>
              <a:gd name="connsiteY3" fmla="*/ 425935 h 514062"/>
              <a:gd name="connsiteX4" fmla="*/ 625693 w 877101"/>
              <a:gd name="connsiteY4" fmla="*/ 106915 h 514062"/>
              <a:gd name="connsiteX5" fmla="*/ 622645 w 877101"/>
              <a:gd name="connsiteY5" fmla="*/ 103867 h 514062"/>
              <a:gd name="connsiteX6" fmla="*/ 610453 w 877101"/>
              <a:gd name="connsiteY6" fmla="*/ 103867 h 514062"/>
              <a:gd name="connsiteX7" fmla="*/ 607405 w 877101"/>
              <a:gd name="connsiteY7" fmla="*/ 106915 h 514062"/>
              <a:gd name="connsiteX8" fmla="*/ 562779 w 877101"/>
              <a:gd name="connsiteY8" fmla="*/ 514061 h 514062"/>
              <a:gd name="connsiteX9" fmla="*/ 562779 w 877101"/>
              <a:gd name="connsiteY9" fmla="*/ 0 h 514062"/>
              <a:gd name="connsiteX10" fmla="*/ 877101 w 877101"/>
              <a:gd name="connsiteY10" fmla="*/ 0 h 514062"/>
              <a:gd name="connsiteX11" fmla="*/ 877101 w 877101"/>
              <a:gd name="connsiteY11" fmla="*/ 514061 h 514062"/>
              <a:gd name="connsiteX12" fmla="*/ 261381 w 877101"/>
              <a:gd name="connsiteY12" fmla="*/ 471134 h 514062"/>
              <a:gd name="connsiteX13" fmla="*/ 276172 w 877101"/>
              <a:gd name="connsiteY13" fmla="*/ 485925 h 514062"/>
              <a:gd name="connsiteX14" fmla="*/ 451699 w 877101"/>
              <a:gd name="connsiteY14" fmla="*/ 485925 h 514062"/>
              <a:gd name="connsiteX15" fmla="*/ 466490 w 877101"/>
              <a:gd name="connsiteY15" fmla="*/ 471134 h 514062"/>
              <a:gd name="connsiteX16" fmla="*/ 466490 w 877101"/>
              <a:gd name="connsiteY16" fmla="*/ 373294 h 514062"/>
              <a:gd name="connsiteX17" fmla="*/ 451699 w 877101"/>
              <a:gd name="connsiteY17" fmla="*/ 358503 h 514062"/>
              <a:gd name="connsiteX18" fmla="*/ 276172 w 877101"/>
              <a:gd name="connsiteY18" fmla="*/ 358503 h 514062"/>
              <a:gd name="connsiteX19" fmla="*/ 261381 w 877101"/>
              <a:gd name="connsiteY19" fmla="*/ 373294 h 514062"/>
              <a:gd name="connsiteX20" fmla="*/ 128986 w 877101"/>
              <a:gd name="connsiteY20" fmla="*/ 206177 h 514062"/>
              <a:gd name="connsiteX21" fmla="*/ 130522 w 877101"/>
              <a:gd name="connsiteY21" fmla="*/ 207701 h 514062"/>
              <a:gd name="connsiteX22" fmla="*/ 401770 w 877101"/>
              <a:gd name="connsiteY22" fmla="*/ 207701 h 514062"/>
              <a:gd name="connsiteX23" fmla="*/ 403306 w 877101"/>
              <a:gd name="connsiteY23" fmla="*/ 206177 h 514062"/>
              <a:gd name="connsiteX24" fmla="*/ 403306 w 877101"/>
              <a:gd name="connsiteY24" fmla="*/ 200081 h 514062"/>
              <a:gd name="connsiteX25" fmla="*/ 401770 w 877101"/>
              <a:gd name="connsiteY25" fmla="*/ 198557 h 514062"/>
              <a:gd name="connsiteX26" fmla="*/ 130522 w 877101"/>
              <a:gd name="connsiteY26" fmla="*/ 198557 h 514062"/>
              <a:gd name="connsiteX27" fmla="*/ 128986 w 877101"/>
              <a:gd name="connsiteY27" fmla="*/ 200081 h 514062"/>
              <a:gd name="connsiteX28" fmla="*/ 128986 w 877101"/>
              <a:gd name="connsiteY28" fmla="*/ 314051 h 514062"/>
              <a:gd name="connsiteX29" fmla="*/ 130522 w 877101"/>
              <a:gd name="connsiteY29" fmla="*/ 315575 h 514062"/>
              <a:gd name="connsiteX30" fmla="*/ 401770 w 877101"/>
              <a:gd name="connsiteY30" fmla="*/ 315575 h 514062"/>
              <a:gd name="connsiteX31" fmla="*/ 403306 w 877101"/>
              <a:gd name="connsiteY31" fmla="*/ 314051 h 514062"/>
              <a:gd name="connsiteX32" fmla="*/ 403306 w 877101"/>
              <a:gd name="connsiteY32" fmla="*/ 307955 h 514062"/>
              <a:gd name="connsiteX33" fmla="*/ 401770 w 877101"/>
              <a:gd name="connsiteY33" fmla="*/ 306431 h 514062"/>
              <a:gd name="connsiteX34" fmla="*/ 130522 w 877101"/>
              <a:gd name="connsiteY34" fmla="*/ 306431 h 514062"/>
              <a:gd name="connsiteX35" fmla="*/ 128986 w 877101"/>
              <a:gd name="connsiteY35" fmla="*/ 307955 h 514062"/>
              <a:gd name="connsiteX36" fmla="*/ 29920 w 877101"/>
              <a:gd name="connsiteY36" fmla="*/ 276905 h 514062"/>
              <a:gd name="connsiteX37" fmla="*/ 518220 w 877101"/>
              <a:gd name="connsiteY37" fmla="*/ 276905 h 514062"/>
              <a:gd name="connsiteX38" fmla="*/ 518220 w 877101"/>
              <a:gd name="connsiteY38" fmla="*/ 254840 h 514062"/>
              <a:gd name="connsiteX39" fmla="*/ 29920 w 877101"/>
              <a:gd name="connsiteY39" fmla="*/ 254840 h 514062"/>
              <a:gd name="connsiteX40" fmla="*/ 0 w 877101"/>
              <a:gd name="connsiteY40" fmla="*/ 514062 h 514062"/>
              <a:gd name="connsiteX41" fmla="*/ 0 w 877101"/>
              <a:gd name="connsiteY41" fmla="*/ 276905 h 514062"/>
              <a:gd name="connsiteX42" fmla="*/ 1 w 877101"/>
              <a:gd name="connsiteY42" fmla="*/ 276905 h 514062"/>
              <a:gd name="connsiteX43" fmla="*/ 1 w 877101"/>
              <a:gd name="connsiteY43" fmla="*/ 254840 h 514062"/>
              <a:gd name="connsiteX44" fmla="*/ 1 w 877101"/>
              <a:gd name="connsiteY44" fmla="*/ 0 h 514062"/>
              <a:gd name="connsiteX45" fmla="*/ 548139 w 877101"/>
              <a:gd name="connsiteY45" fmla="*/ 0 h 514062"/>
              <a:gd name="connsiteX46" fmla="*/ 548139 w 877101"/>
              <a:gd name="connsiteY46" fmla="*/ 254840 h 514062"/>
              <a:gd name="connsiteX47" fmla="*/ 548139 w 877101"/>
              <a:gd name="connsiteY47" fmla="*/ 505554 h 514062"/>
              <a:gd name="connsiteX48" fmla="*/ 548139 w 877101"/>
              <a:gd name="connsiteY48" fmla="*/ 514062 h 514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877101" h="514062">
                <a:moveTo>
                  <a:pt x="607405" y="425935"/>
                </a:moveTo>
                <a:cubicBezTo>
                  <a:pt x="607405" y="427618"/>
                  <a:pt x="608770" y="428983"/>
                  <a:pt x="610453" y="428983"/>
                </a:cubicBezTo>
                <a:lnTo>
                  <a:pt x="622645" y="428983"/>
                </a:lnTo>
                <a:cubicBezTo>
                  <a:pt x="624328" y="428983"/>
                  <a:pt x="625693" y="427618"/>
                  <a:pt x="625693" y="425935"/>
                </a:cubicBezTo>
                <a:lnTo>
                  <a:pt x="625693" y="106915"/>
                </a:lnTo>
                <a:cubicBezTo>
                  <a:pt x="625693" y="105232"/>
                  <a:pt x="624328" y="103867"/>
                  <a:pt x="622645" y="103867"/>
                </a:cubicBezTo>
                <a:lnTo>
                  <a:pt x="610453" y="103867"/>
                </a:lnTo>
                <a:cubicBezTo>
                  <a:pt x="608770" y="103867"/>
                  <a:pt x="607405" y="105232"/>
                  <a:pt x="607405" y="106915"/>
                </a:cubicBezTo>
                <a:close/>
                <a:moveTo>
                  <a:pt x="562779" y="514061"/>
                </a:moveTo>
                <a:lnTo>
                  <a:pt x="562779" y="0"/>
                </a:lnTo>
                <a:lnTo>
                  <a:pt x="877101" y="0"/>
                </a:lnTo>
                <a:lnTo>
                  <a:pt x="877101" y="514061"/>
                </a:lnTo>
                <a:close/>
                <a:moveTo>
                  <a:pt x="261381" y="471134"/>
                </a:moveTo>
                <a:cubicBezTo>
                  <a:pt x="261381" y="479303"/>
                  <a:pt x="268003" y="485925"/>
                  <a:pt x="276172" y="485925"/>
                </a:cubicBezTo>
                <a:lnTo>
                  <a:pt x="451699" y="485925"/>
                </a:lnTo>
                <a:cubicBezTo>
                  <a:pt x="459868" y="485925"/>
                  <a:pt x="466490" y="479303"/>
                  <a:pt x="466490" y="471134"/>
                </a:cubicBezTo>
                <a:lnTo>
                  <a:pt x="466490" y="373294"/>
                </a:lnTo>
                <a:cubicBezTo>
                  <a:pt x="466490" y="365125"/>
                  <a:pt x="459868" y="358503"/>
                  <a:pt x="451699" y="358503"/>
                </a:cubicBezTo>
                <a:lnTo>
                  <a:pt x="276172" y="358503"/>
                </a:lnTo>
                <a:cubicBezTo>
                  <a:pt x="268003" y="358503"/>
                  <a:pt x="261381" y="365125"/>
                  <a:pt x="261381" y="373294"/>
                </a:cubicBezTo>
                <a:close/>
                <a:moveTo>
                  <a:pt x="128986" y="206177"/>
                </a:moveTo>
                <a:cubicBezTo>
                  <a:pt x="128986" y="207019"/>
                  <a:pt x="129672" y="207701"/>
                  <a:pt x="130522" y="207701"/>
                </a:cubicBezTo>
                <a:lnTo>
                  <a:pt x="401770" y="207701"/>
                </a:lnTo>
                <a:cubicBezTo>
                  <a:pt x="402620" y="207701"/>
                  <a:pt x="403306" y="207019"/>
                  <a:pt x="403306" y="206177"/>
                </a:cubicBezTo>
                <a:lnTo>
                  <a:pt x="403306" y="200081"/>
                </a:lnTo>
                <a:cubicBezTo>
                  <a:pt x="403306" y="199239"/>
                  <a:pt x="402620" y="198557"/>
                  <a:pt x="401770" y="198557"/>
                </a:cubicBezTo>
                <a:lnTo>
                  <a:pt x="130522" y="198557"/>
                </a:lnTo>
                <a:cubicBezTo>
                  <a:pt x="129672" y="198557"/>
                  <a:pt x="128986" y="199239"/>
                  <a:pt x="128986" y="200081"/>
                </a:cubicBezTo>
                <a:close/>
                <a:moveTo>
                  <a:pt x="128986" y="314051"/>
                </a:moveTo>
                <a:cubicBezTo>
                  <a:pt x="128986" y="314893"/>
                  <a:pt x="129672" y="315575"/>
                  <a:pt x="130522" y="315575"/>
                </a:cubicBezTo>
                <a:lnTo>
                  <a:pt x="401770" y="315575"/>
                </a:lnTo>
                <a:cubicBezTo>
                  <a:pt x="402620" y="315575"/>
                  <a:pt x="403306" y="314893"/>
                  <a:pt x="403306" y="314051"/>
                </a:cubicBezTo>
                <a:lnTo>
                  <a:pt x="403306" y="307955"/>
                </a:lnTo>
                <a:cubicBezTo>
                  <a:pt x="403306" y="307113"/>
                  <a:pt x="402620" y="306431"/>
                  <a:pt x="401770" y="306431"/>
                </a:cubicBezTo>
                <a:lnTo>
                  <a:pt x="130522" y="306431"/>
                </a:lnTo>
                <a:cubicBezTo>
                  <a:pt x="129672" y="306431"/>
                  <a:pt x="128986" y="307113"/>
                  <a:pt x="128986" y="307955"/>
                </a:cubicBezTo>
                <a:close/>
                <a:moveTo>
                  <a:pt x="29920" y="276905"/>
                </a:moveTo>
                <a:lnTo>
                  <a:pt x="518220" y="276905"/>
                </a:lnTo>
                <a:lnTo>
                  <a:pt x="518220" y="254840"/>
                </a:lnTo>
                <a:lnTo>
                  <a:pt x="29920" y="254840"/>
                </a:lnTo>
                <a:close/>
                <a:moveTo>
                  <a:pt x="0" y="514062"/>
                </a:moveTo>
                <a:lnTo>
                  <a:pt x="0" y="276905"/>
                </a:lnTo>
                <a:lnTo>
                  <a:pt x="1" y="276905"/>
                </a:lnTo>
                <a:lnTo>
                  <a:pt x="1" y="254840"/>
                </a:lnTo>
                <a:lnTo>
                  <a:pt x="1" y="0"/>
                </a:lnTo>
                <a:lnTo>
                  <a:pt x="548139" y="0"/>
                </a:lnTo>
                <a:lnTo>
                  <a:pt x="548139" y="254840"/>
                </a:lnTo>
                <a:lnTo>
                  <a:pt x="548139" y="505554"/>
                </a:lnTo>
                <a:lnTo>
                  <a:pt x="548139" y="514062"/>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a:gradFill>
                <a:gsLst>
                  <a:gs pos="0">
                    <a:srgbClr val="FFFFFF"/>
                  </a:gs>
                  <a:gs pos="100000">
                    <a:srgbClr val="FFFFFF"/>
                  </a:gs>
                </a:gsLst>
                <a:lin ang="5400000" scaled="0"/>
              </a:gradFill>
              <a:ea typeface="Segoe UI" pitchFamily="34" charset="0"/>
              <a:cs typeface="Segoe UI" pitchFamily="34" charset="0"/>
            </a:endParaRPr>
          </a:p>
        </p:txBody>
      </p:sp>
      <p:sp>
        <p:nvSpPr>
          <p:cNvPr id="4742" name="Rectangle 379"/>
          <p:cNvSpPr>
            <a:spLocks noChangeAspect="1"/>
          </p:cNvSpPr>
          <p:nvPr/>
        </p:nvSpPr>
        <p:spPr bwMode="auto">
          <a:xfrm>
            <a:off x="1535290" y="2625918"/>
            <a:ext cx="272756" cy="395510"/>
          </a:xfrm>
          <a:custGeom>
            <a:avLst/>
            <a:gdLst/>
            <a:ahLst/>
            <a:cxnLst/>
            <a:rect l="l" t="t" r="r" b="b"/>
            <a:pathLst>
              <a:path w="3931725" h="5702025">
                <a:moveTo>
                  <a:pt x="1783210" y="3914885"/>
                </a:moveTo>
                <a:lnTo>
                  <a:pt x="1783210" y="4268661"/>
                </a:lnTo>
                <a:lnTo>
                  <a:pt x="2154311" y="4268661"/>
                </a:lnTo>
                <a:lnTo>
                  <a:pt x="2154311" y="3914885"/>
                </a:lnTo>
                <a:close/>
                <a:moveTo>
                  <a:pt x="697171" y="2130649"/>
                </a:moveTo>
                <a:lnTo>
                  <a:pt x="697171" y="2484425"/>
                </a:lnTo>
                <a:lnTo>
                  <a:pt x="3213873" y="2484425"/>
                </a:lnTo>
                <a:lnTo>
                  <a:pt x="3213873" y="2130649"/>
                </a:lnTo>
                <a:close/>
                <a:moveTo>
                  <a:pt x="1965863" y="688164"/>
                </a:moveTo>
                <a:cubicBezTo>
                  <a:pt x="1279622" y="688164"/>
                  <a:pt x="719738" y="1189659"/>
                  <a:pt x="691663" y="1818938"/>
                </a:cubicBezTo>
                <a:lnTo>
                  <a:pt x="1311154" y="1818938"/>
                </a:lnTo>
                <a:cubicBezTo>
                  <a:pt x="1458331" y="1732784"/>
                  <a:pt x="1620262" y="1675334"/>
                  <a:pt x="1791362" y="1651978"/>
                </a:cubicBezTo>
                <a:lnTo>
                  <a:pt x="1791362" y="1035202"/>
                </a:lnTo>
                <a:lnTo>
                  <a:pt x="2139873" y="1035202"/>
                </a:lnTo>
                <a:lnTo>
                  <a:pt x="2139873" y="1651889"/>
                </a:lnTo>
                <a:cubicBezTo>
                  <a:pt x="2311153" y="1675223"/>
                  <a:pt x="2473254" y="1732701"/>
                  <a:pt x="2620572" y="1818938"/>
                </a:cubicBezTo>
                <a:lnTo>
                  <a:pt x="3240063" y="1818938"/>
                </a:lnTo>
                <a:cubicBezTo>
                  <a:pt x="3211988" y="1189659"/>
                  <a:pt x="2652105" y="688164"/>
                  <a:pt x="1965863" y="688164"/>
                </a:cubicBezTo>
                <a:close/>
                <a:moveTo>
                  <a:pt x="1965863" y="0"/>
                </a:moveTo>
                <a:cubicBezTo>
                  <a:pt x="3032735" y="0"/>
                  <a:pt x="3901112" y="809522"/>
                  <a:pt x="3928531" y="1818938"/>
                </a:cubicBezTo>
                <a:lnTo>
                  <a:pt x="3931725" y="1818938"/>
                </a:lnTo>
                <a:lnTo>
                  <a:pt x="3929113" y="1827737"/>
                </a:lnTo>
                <a:cubicBezTo>
                  <a:pt x="3930114" y="1833731"/>
                  <a:pt x="3930226" y="1839753"/>
                  <a:pt x="3930307" y="1845781"/>
                </a:cubicBezTo>
                <a:lnTo>
                  <a:pt x="3923757" y="1845781"/>
                </a:lnTo>
                <a:lnTo>
                  <a:pt x="3304206" y="3517868"/>
                </a:lnTo>
                <a:cubicBezTo>
                  <a:pt x="3131671" y="4129286"/>
                  <a:pt x="2963594" y="4699427"/>
                  <a:pt x="2459455" y="4905343"/>
                </a:cubicBezTo>
                <a:lnTo>
                  <a:pt x="2459455" y="5702025"/>
                </a:lnTo>
                <a:lnTo>
                  <a:pt x="1472270" y="5702025"/>
                </a:lnTo>
                <a:lnTo>
                  <a:pt x="1472270" y="4905343"/>
                </a:lnTo>
                <a:cubicBezTo>
                  <a:pt x="968134" y="4699427"/>
                  <a:pt x="781012" y="4119431"/>
                  <a:pt x="592082" y="3518807"/>
                </a:cubicBezTo>
                <a:lnTo>
                  <a:pt x="7969" y="1845781"/>
                </a:lnTo>
                <a:lnTo>
                  <a:pt x="1419" y="1845781"/>
                </a:lnTo>
                <a:lnTo>
                  <a:pt x="2613" y="1827740"/>
                </a:lnTo>
                <a:lnTo>
                  <a:pt x="0" y="1818938"/>
                </a:lnTo>
                <a:lnTo>
                  <a:pt x="3195" y="1818938"/>
                </a:lnTo>
                <a:cubicBezTo>
                  <a:pt x="30614" y="809522"/>
                  <a:pt x="898991" y="0"/>
                  <a:pt x="1965863" y="0"/>
                </a:cubicBezTo>
                <a:close/>
              </a:path>
            </a:pathLst>
          </a:custGeom>
          <a:solidFill>
            <a:schemeClr val="bg1"/>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688" rtl="0" eaLnBrk="1" latinLnBrk="0" hangingPunct="1">
              <a:defRPr sz="1836" kern="1200">
                <a:solidFill>
                  <a:schemeClr val="lt1"/>
                </a:solidFill>
                <a:latin typeface="+mn-lt"/>
                <a:ea typeface="+mn-ea"/>
                <a:cs typeface="+mn-cs"/>
              </a:defRPr>
            </a:lvl1pPr>
            <a:lvl2pPr marL="466344" algn="l" defTabSz="932688" rtl="0" eaLnBrk="1" latinLnBrk="0" hangingPunct="1">
              <a:defRPr sz="1836" kern="1200">
                <a:solidFill>
                  <a:schemeClr val="lt1"/>
                </a:solidFill>
                <a:latin typeface="+mn-lt"/>
                <a:ea typeface="+mn-ea"/>
                <a:cs typeface="+mn-cs"/>
              </a:defRPr>
            </a:lvl2pPr>
            <a:lvl3pPr marL="932688" algn="l" defTabSz="932688" rtl="0" eaLnBrk="1" latinLnBrk="0" hangingPunct="1">
              <a:defRPr sz="1836" kern="1200">
                <a:solidFill>
                  <a:schemeClr val="lt1"/>
                </a:solidFill>
                <a:latin typeface="+mn-lt"/>
                <a:ea typeface="+mn-ea"/>
                <a:cs typeface="+mn-cs"/>
              </a:defRPr>
            </a:lvl3pPr>
            <a:lvl4pPr marL="1399032" algn="l" defTabSz="932688" rtl="0" eaLnBrk="1" latinLnBrk="0" hangingPunct="1">
              <a:defRPr sz="1836" kern="1200">
                <a:solidFill>
                  <a:schemeClr val="lt1"/>
                </a:solidFill>
                <a:latin typeface="+mn-lt"/>
                <a:ea typeface="+mn-ea"/>
                <a:cs typeface="+mn-cs"/>
              </a:defRPr>
            </a:lvl4pPr>
            <a:lvl5pPr marL="1865376" algn="l" defTabSz="932688" rtl="0" eaLnBrk="1" latinLnBrk="0" hangingPunct="1">
              <a:defRPr sz="1836" kern="1200">
                <a:solidFill>
                  <a:schemeClr val="lt1"/>
                </a:solidFill>
                <a:latin typeface="+mn-lt"/>
                <a:ea typeface="+mn-ea"/>
                <a:cs typeface="+mn-cs"/>
              </a:defRPr>
            </a:lvl5pPr>
            <a:lvl6pPr marL="2331720" algn="l" defTabSz="932688" rtl="0" eaLnBrk="1" latinLnBrk="0" hangingPunct="1">
              <a:defRPr sz="1836" kern="1200">
                <a:solidFill>
                  <a:schemeClr val="lt1"/>
                </a:solidFill>
                <a:latin typeface="+mn-lt"/>
                <a:ea typeface="+mn-ea"/>
                <a:cs typeface="+mn-cs"/>
              </a:defRPr>
            </a:lvl6pPr>
            <a:lvl7pPr marL="2798064" algn="l" defTabSz="932688" rtl="0" eaLnBrk="1" latinLnBrk="0" hangingPunct="1">
              <a:defRPr sz="1836" kern="1200">
                <a:solidFill>
                  <a:schemeClr val="lt1"/>
                </a:solidFill>
                <a:latin typeface="+mn-lt"/>
                <a:ea typeface="+mn-ea"/>
                <a:cs typeface="+mn-cs"/>
              </a:defRPr>
            </a:lvl7pPr>
            <a:lvl8pPr marL="3264408" algn="l" defTabSz="932688" rtl="0" eaLnBrk="1" latinLnBrk="0" hangingPunct="1">
              <a:defRPr sz="1836" kern="1200">
                <a:solidFill>
                  <a:schemeClr val="lt1"/>
                </a:solidFill>
                <a:latin typeface="+mn-lt"/>
                <a:ea typeface="+mn-ea"/>
                <a:cs typeface="+mn-cs"/>
              </a:defRPr>
            </a:lvl8pPr>
            <a:lvl9pPr marL="3730752" algn="l" defTabSz="932688" rtl="0" eaLnBrk="1" latinLnBrk="0" hangingPunct="1">
              <a:defRPr sz="1836" kern="1200">
                <a:solidFill>
                  <a:schemeClr val="lt1"/>
                </a:solidFill>
                <a:latin typeface="+mn-lt"/>
                <a:ea typeface="+mn-ea"/>
                <a:cs typeface="+mn-cs"/>
              </a:defRPr>
            </a:lvl9pPr>
          </a:lstStyle>
          <a:p>
            <a:pPr algn="ctr" defTabSz="951121"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745" name="Freeform 362"/>
          <p:cNvSpPr>
            <a:spLocks noChangeAspect="1"/>
          </p:cNvSpPr>
          <p:nvPr/>
        </p:nvSpPr>
        <p:spPr bwMode="auto">
          <a:xfrm rot="19207886">
            <a:off x="3484492" y="4780074"/>
            <a:ext cx="232081" cy="414740"/>
          </a:xfrm>
          <a:custGeom>
            <a:avLst/>
            <a:gdLst/>
            <a:ahLst/>
            <a:cxnLst/>
            <a:rect l="l" t="t" r="r" b="b"/>
            <a:pathLst>
              <a:path w="2319649" h="4146395">
                <a:moveTo>
                  <a:pt x="721347" y="1393541"/>
                </a:moveTo>
                <a:lnTo>
                  <a:pt x="1004577" y="1630094"/>
                </a:lnTo>
                <a:lnTo>
                  <a:pt x="783124" y="1895244"/>
                </a:lnTo>
                <a:lnTo>
                  <a:pt x="499894" y="1658691"/>
                </a:lnTo>
                <a:close/>
                <a:moveTo>
                  <a:pt x="221453" y="976031"/>
                </a:moveTo>
                <a:lnTo>
                  <a:pt x="504683" y="1212584"/>
                </a:lnTo>
                <a:lnTo>
                  <a:pt x="283230" y="1477734"/>
                </a:lnTo>
                <a:lnTo>
                  <a:pt x="0" y="1241181"/>
                </a:lnTo>
                <a:close/>
                <a:moveTo>
                  <a:pt x="1119716" y="916564"/>
                </a:moveTo>
                <a:lnTo>
                  <a:pt x="1402946" y="1153118"/>
                </a:lnTo>
                <a:lnTo>
                  <a:pt x="1181493" y="1418268"/>
                </a:lnTo>
                <a:lnTo>
                  <a:pt x="898263" y="1181715"/>
                </a:lnTo>
                <a:close/>
                <a:moveTo>
                  <a:pt x="619823" y="499054"/>
                </a:moveTo>
                <a:lnTo>
                  <a:pt x="903053" y="735607"/>
                </a:lnTo>
                <a:lnTo>
                  <a:pt x="681600" y="1000757"/>
                </a:lnTo>
                <a:lnTo>
                  <a:pt x="398370" y="764204"/>
                </a:lnTo>
                <a:close/>
                <a:moveTo>
                  <a:pt x="1788219" y="1414996"/>
                </a:moveTo>
                <a:lnTo>
                  <a:pt x="1827007" y="1456492"/>
                </a:lnTo>
                <a:lnTo>
                  <a:pt x="1848826" y="1510192"/>
                </a:lnTo>
                <a:lnTo>
                  <a:pt x="1853674" y="1566334"/>
                </a:lnTo>
                <a:lnTo>
                  <a:pt x="1843977" y="1620034"/>
                </a:lnTo>
                <a:lnTo>
                  <a:pt x="1817310" y="1671294"/>
                </a:lnTo>
                <a:lnTo>
                  <a:pt x="1371242" y="2230266"/>
                </a:lnTo>
                <a:lnTo>
                  <a:pt x="1412455" y="2191212"/>
                </a:lnTo>
                <a:lnTo>
                  <a:pt x="1465789" y="2166802"/>
                </a:lnTo>
                <a:lnTo>
                  <a:pt x="1519123" y="2161920"/>
                </a:lnTo>
                <a:lnTo>
                  <a:pt x="1574882" y="2171684"/>
                </a:lnTo>
                <a:lnTo>
                  <a:pt x="1625792" y="2200975"/>
                </a:lnTo>
                <a:lnTo>
                  <a:pt x="1664580" y="2244912"/>
                </a:lnTo>
                <a:lnTo>
                  <a:pt x="1688823" y="2296171"/>
                </a:lnTo>
                <a:lnTo>
                  <a:pt x="1693672" y="2349872"/>
                </a:lnTo>
                <a:lnTo>
                  <a:pt x="1679126" y="2406013"/>
                </a:lnTo>
                <a:lnTo>
                  <a:pt x="1650035" y="2454832"/>
                </a:lnTo>
                <a:lnTo>
                  <a:pt x="1613670" y="2506091"/>
                </a:lnTo>
                <a:lnTo>
                  <a:pt x="1664580" y="2476800"/>
                </a:lnTo>
                <a:lnTo>
                  <a:pt x="1727611" y="2467036"/>
                </a:lnTo>
                <a:lnTo>
                  <a:pt x="1783370" y="2476800"/>
                </a:lnTo>
                <a:lnTo>
                  <a:pt x="1839128" y="2506091"/>
                </a:lnTo>
                <a:lnTo>
                  <a:pt x="1877917" y="2550028"/>
                </a:lnTo>
                <a:lnTo>
                  <a:pt x="1902160" y="2601288"/>
                </a:lnTo>
                <a:lnTo>
                  <a:pt x="1907008" y="2654988"/>
                </a:lnTo>
                <a:lnTo>
                  <a:pt x="1897311" y="2711129"/>
                </a:lnTo>
                <a:lnTo>
                  <a:pt x="1868220" y="2759948"/>
                </a:lnTo>
                <a:lnTo>
                  <a:pt x="1797916" y="2850262"/>
                </a:lnTo>
                <a:lnTo>
                  <a:pt x="1848825" y="2820971"/>
                </a:lnTo>
                <a:lnTo>
                  <a:pt x="1907008" y="2811207"/>
                </a:lnTo>
                <a:lnTo>
                  <a:pt x="1967616" y="2820971"/>
                </a:lnTo>
                <a:lnTo>
                  <a:pt x="2020950" y="2850262"/>
                </a:lnTo>
                <a:lnTo>
                  <a:pt x="2057314" y="2891758"/>
                </a:lnTo>
                <a:lnTo>
                  <a:pt x="2081557" y="2945459"/>
                </a:lnTo>
                <a:lnTo>
                  <a:pt x="2086406" y="3001600"/>
                </a:lnTo>
                <a:lnTo>
                  <a:pt x="2076708" y="3055300"/>
                </a:lnTo>
                <a:lnTo>
                  <a:pt x="2050041" y="3106560"/>
                </a:lnTo>
                <a:lnTo>
                  <a:pt x="1380939" y="3941357"/>
                </a:lnTo>
                <a:lnTo>
                  <a:pt x="1351848" y="3975530"/>
                </a:lnTo>
                <a:lnTo>
                  <a:pt x="1313059" y="4017026"/>
                </a:lnTo>
                <a:lnTo>
                  <a:pt x="1271846" y="4060963"/>
                </a:lnTo>
                <a:lnTo>
                  <a:pt x="1218512" y="4097577"/>
                </a:lnTo>
                <a:lnTo>
                  <a:pt x="1167602" y="4126868"/>
                </a:lnTo>
                <a:lnTo>
                  <a:pt x="1109420" y="4146395"/>
                </a:lnTo>
                <a:lnTo>
                  <a:pt x="1058510" y="4141514"/>
                </a:lnTo>
                <a:lnTo>
                  <a:pt x="1010024" y="4117104"/>
                </a:lnTo>
                <a:lnTo>
                  <a:pt x="973660" y="4090254"/>
                </a:lnTo>
                <a:lnTo>
                  <a:pt x="915477" y="4046317"/>
                </a:lnTo>
                <a:lnTo>
                  <a:pt x="850022" y="3990176"/>
                </a:lnTo>
                <a:lnTo>
                  <a:pt x="777293" y="3931593"/>
                </a:lnTo>
                <a:lnTo>
                  <a:pt x="697292" y="3865688"/>
                </a:lnTo>
                <a:lnTo>
                  <a:pt x="612442" y="3797343"/>
                </a:lnTo>
                <a:lnTo>
                  <a:pt x="532440" y="3731438"/>
                </a:lnTo>
                <a:lnTo>
                  <a:pt x="450015" y="3670415"/>
                </a:lnTo>
                <a:lnTo>
                  <a:pt x="379710" y="3611832"/>
                </a:lnTo>
                <a:lnTo>
                  <a:pt x="319104" y="3560573"/>
                </a:lnTo>
                <a:lnTo>
                  <a:pt x="270618" y="3521518"/>
                </a:lnTo>
                <a:lnTo>
                  <a:pt x="236678" y="3497108"/>
                </a:lnTo>
                <a:lnTo>
                  <a:pt x="190617" y="3445849"/>
                </a:lnTo>
                <a:lnTo>
                  <a:pt x="161525" y="3392148"/>
                </a:lnTo>
                <a:lnTo>
                  <a:pt x="151828" y="3336007"/>
                </a:lnTo>
                <a:lnTo>
                  <a:pt x="151828" y="3277425"/>
                </a:lnTo>
                <a:lnTo>
                  <a:pt x="156677" y="3221284"/>
                </a:lnTo>
                <a:lnTo>
                  <a:pt x="319104" y="2110661"/>
                </a:lnTo>
                <a:lnTo>
                  <a:pt x="333649" y="2052078"/>
                </a:lnTo>
                <a:lnTo>
                  <a:pt x="365165" y="2005701"/>
                </a:lnTo>
                <a:lnTo>
                  <a:pt x="413651" y="1976410"/>
                </a:lnTo>
                <a:lnTo>
                  <a:pt x="464561" y="1956882"/>
                </a:lnTo>
                <a:lnTo>
                  <a:pt x="522743" y="1956882"/>
                </a:lnTo>
                <a:lnTo>
                  <a:pt x="578502" y="1971528"/>
                </a:lnTo>
                <a:lnTo>
                  <a:pt x="622139" y="2005701"/>
                </a:lnTo>
                <a:lnTo>
                  <a:pt x="656079" y="2052078"/>
                </a:lnTo>
                <a:lnTo>
                  <a:pt x="673049" y="2105779"/>
                </a:lnTo>
                <a:lnTo>
                  <a:pt x="673049" y="2161921"/>
                </a:lnTo>
                <a:lnTo>
                  <a:pt x="612442" y="2601288"/>
                </a:lnTo>
                <a:lnTo>
                  <a:pt x="1531245" y="1441846"/>
                </a:lnTo>
                <a:lnTo>
                  <a:pt x="1574882" y="1405232"/>
                </a:lnTo>
                <a:lnTo>
                  <a:pt x="1625792" y="1380823"/>
                </a:lnTo>
                <a:lnTo>
                  <a:pt x="1683974" y="1375941"/>
                </a:lnTo>
                <a:lnTo>
                  <a:pt x="1734885" y="1385705"/>
                </a:lnTo>
                <a:close/>
                <a:moveTo>
                  <a:pt x="2036419" y="835021"/>
                </a:moveTo>
                <a:lnTo>
                  <a:pt x="2319649" y="1071574"/>
                </a:lnTo>
                <a:lnTo>
                  <a:pt x="2098196" y="1336724"/>
                </a:lnTo>
                <a:lnTo>
                  <a:pt x="1814966" y="1100171"/>
                </a:lnTo>
                <a:close/>
                <a:moveTo>
                  <a:pt x="1536525" y="417510"/>
                </a:moveTo>
                <a:lnTo>
                  <a:pt x="1819755" y="654063"/>
                </a:lnTo>
                <a:lnTo>
                  <a:pt x="1598302" y="919214"/>
                </a:lnTo>
                <a:lnTo>
                  <a:pt x="1315073" y="682661"/>
                </a:lnTo>
                <a:close/>
                <a:moveTo>
                  <a:pt x="1036632" y="0"/>
                </a:moveTo>
                <a:lnTo>
                  <a:pt x="1319862" y="236553"/>
                </a:lnTo>
                <a:lnTo>
                  <a:pt x="1098409" y="501703"/>
                </a:lnTo>
                <a:lnTo>
                  <a:pt x="815179" y="26515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404040"/>
              </a:solidFill>
            </a:endParaRPr>
          </a:p>
        </p:txBody>
      </p:sp>
      <p:sp>
        <p:nvSpPr>
          <p:cNvPr id="4746" name="Oval 16"/>
          <p:cNvSpPr>
            <a:spLocks noChangeAspect="1"/>
          </p:cNvSpPr>
          <p:nvPr/>
        </p:nvSpPr>
        <p:spPr bwMode="auto">
          <a:xfrm>
            <a:off x="2286528" y="4850876"/>
            <a:ext cx="339102" cy="327255"/>
          </a:xfrm>
          <a:custGeom>
            <a:avLst/>
            <a:gdLst/>
            <a:ahLst/>
            <a:cxnLst/>
            <a:rect l="l" t="t" r="r" b="b"/>
            <a:pathLst>
              <a:path w="2396359" h="2310016">
                <a:moveTo>
                  <a:pt x="1165378" y="1670960"/>
                </a:moveTo>
                <a:cubicBezTo>
                  <a:pt x="1273504" y="1670960"/>
                  <a:pt x="1361157" y="1758613"/>
                  <a:pt x="1361157" y="1866739"/>
                </a:cubicBezTo>
                <a:cubicBezTo>
                  <a:pt x="1361157" y="1974865"/>
                  <a:pt x="1273504" y="2062518"/>
                  <a:pt x="1165378" y="2062518"/>
                </a:cubicBezTo>
                <a:cubicBezTo>
                  <a:pt x="1057252" y="2062518"/>
                  <a:pt x="969599" y="1974865"/>
                  <a:pt x="969599" y="1866739"/>
                </a:cubicBezTo>
                <a:cubicBezTo>
                  <a:pt x="969599" y="1758613"/>
                  <a:pt x="1057252" y="1670960"/>
                  <a:pt x="1165378" y="1670960"/>
                </a:cubicBezTo>
                <a:close/>
                <a:moveTo>
                  <a:pt x="1165378" y="1364076"/>
                </a:moveTo>
                <a:cubicBezTo>
                  <a:pt x="972314" y="1364076"/>
                  <a:pt x="815805" y="1520585"/>
                  <a:pt x="815805" y="1713649"/>
                </a:cubicBezTo>
                <a:lnTo>
                  <a:pt x="815805" y="2138530"/>
                </a:lnTo>
                <a:lnTo>
                  <a:pt x="1514951" y="2138530"/>
                </a:lnTo>
                <a:lnTo>
                  <a:pt x="1514951" y="1713649"/>
                </a:lnTo>
                <a:cubicBezTo>
                  <a:pt x="1514951" y="1520585"/>
                  <a:pt x="1358442" y="1364076"/>
                  <a:pt x="1165378" y="1364076"/>
                </a:cubicBezTo>
                <a:close/>
                <a:moveTo>
                  <a:pt x="1102410" y="885807"/>
                </a:moveTo>
                <a:cubicBezTo>
                  <a:pt x="1698054" y="885807"/>
                  <a:pt x="2243980" y="1028981"/>
                  <a:pt x="2243980" y="1314132"/>
                </a:cubicBezTo>
                <a:cubicBezTo>
                  <a:pt x="2243980" y="1864144"/>
                  <a:pt x="1761116" y="2310016"/>
                  <a:pt x="1165472" y="2310016"/>
                </a:cubicBezTo>
                <a:cubicBezTo>
                  <a:pt x="569828" y="2310016"/>
                  <a:pt x="97474" y="1551500"/>
                  <a:pt x="86964" y="1314132"/>
                </a:cubicBezTo>
                <a:cubicBezTo>
                  <a:pt x="76454" y="1076764"/>
                  <a:pt x="506766" y="885807"/>
                  <a:pt x="1102410" y="885807"/>
                </a:cubicBezTo>
                <a:close/>
                <a:moveTo>
                  <a:pt x="1167542" y="481"/>
                </a:moveTo>
                <a:cubicBezTo>
                  <a:pt x="1587408" y="-7473"/>
                  <a:pt x="2041373" y="82194"/>
                  <a:pt x="2396359" y="336018"/>
                </a:cubicBezTo>
                <a:lnTo>
                  <a:pt x="2396359" y="1092763"/>
                </a:lnTo>
                <a:cubicBezTo>
                  <a:pt x="1824596" y="853127"/>
                  <a:pt x="1025810" y="575654"/>
                  <a:pt x="0" y="1092763"/>
                </a:cubicBezTo>
                <a:lnTo>
                  <a:pt x="0" y="373856"/>
                </a:lnTo>
                <a:cubicBezTo>
                  <a:pt x="144255" y="182304"/>
                  <a:pt x="627714" y="10707"/>
                  <a:pt x="1167542" y="481"/>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ea typeface="Segoe UI" pitchFamily="34" charset="0"/>
              <a:cs typeface="Segoe UI" pitchFamily="34" charset="0"/>
            </a:endParaRPr>
          </a:p>
        </p:txBody>
      </p:sp>
      <p:grpSp>
        <p:nvGrpSpPr>
          <p:cNvPr id="11159" name="Group 11158"/>
          <p:cNvGrpSpPr/>
          <p:nvPr/>
        </p:nvGrpSpPr>
        <p:grpSpPr>
          <a:xfrm>
            <a:off x="2906742" y="4293446"/>
            <a:ext cx="558332" cy="363751"/>
            <a:chOff x="617975" y="303570"/>
            <a:chExt cx="2068536" cy="1347643"/>
          </a:xfrm>
          <a:solidFill>
            <a:schemeClr val="bg1"/>
          </a:solidFill>
        </p:grpSpPr>
        <p:sp>
          <p:nvSpPr>
            <p:cNvPr id="4747" name="Freeform 4746"/>
            <p:cNvSpPr>
              <a:spLocks noChangeAspect="1"/>
            </p:cNvSpPr>
            <p:nvPr/>
          </p:nvSpPr>
          <p:spPr bwMode="auto">
            <a:xfrm>
              <a:off x="617975" y="303570"/>
              <a:ext cx="1030550" cy="1347510"/>
            </a:xfrm>
            <a:custGeom>
              <a:avLst/>
              <a:gdLst>
                <a:gd name="connsiteX0" fmla="*/ 222099 w 435236"/>
                <a:gd name="connsiteY0" fmla="*/ 228303 h 569099"/>
                <a:gd name="connsiteX1" fmla="*/ 112123 w 435236"/>
                <a:gd name="connsiteY1" fmla="*/ 338279 h 569099"/>
                <a:gd name="connsiteX2" fmla="*/ 222099 w 435236"/>
                <a:gd name="connsiteY2" fmla="*/ 448255 h 569099"/>
                <a:gd name="connsiteX3" fmla="*/ 299864 w 435236"/>
                <a:gd name="connsiteY3" fmla="*/ 416044 h 569099"/>
                <a:gd name="connsiteX4" fmla="*/ 314373 w 435236"/>
                <a:gd name="connsiteY4" fmla="*/ 394524 h 569099"/>
                <a:gd name="connsiteX5" fmla="*/ 297359 w 435236"/>
                <a:gd name="connsiteY5" fmla="*/ 383053 h 569099"/>
                <a:gd name="connsiteX6" fmla="*/ 279784 w 435236"/>
                <a:gd name="connsiteY6" fmla="*/ 340624 h 569099"/>
                <a:gd name="connsiteX7" fmla="*/ 316432 w 435236"/>
                <a:gd name="connsiteY7" fmla="*/ 285336 h 569099"/>
                <a:gd name="connsiteX8" fmla="*/ 316579 w 435236"/>
                <a:gd name="connsiteY8" fmla="*/ 285306 h 569099"/>
                <a:gd name="connsiteX9" fmla="*/ 299864 w 435236"/>
                <a:gd name="connsiteY9" fmla="*/ 260514 h 569099"/>
                <a:gd name="connsiteX10" fmla="*/ 222099 w 435236"/>
                <a:gd name="connsiteY10" fmla="*/ 228303 h 569099"/>
                <a:gd name="connsiteX11" fmla="*/ 214351 w 435236"/>
                <a:gd name="connsiteY11" fmla="*/ 201163 h 569099"/>
                <a:gd name="connsiteX12" fmla="*/ 351469 w 435236"/>
                <a:gd name="connsiteY12" fmla="*/ 338281 h 569099"/>
                <a:gd name="connsiteX13" fmla="*/ 214351 w 435236"/>
                <a:gd name="connsiteY13" fmla="*/ 475399 h 569099"/>
                <a:gd name="connsiteX14" fmla="*/ 77233 w 435236"/>
                <a:gd name="connsiteY14" fmla="*/ 338281 h 569099"/>
                <a:gd name="connsiteX15" fmla="*/ 214351 w 435236"/>
                <a:gd name="connsiteY15" fmla="*/ 201163 h 569099"/>
                <a:gd name="connsiteX16" fmla="*/ 214351 w 435236"/>
                <a:gd name="connsiteY16" fmla="*/ 175247 h 569099"/>
                <a:gd name="connsiteX17" fmla="*/ 51317 w 435236"/>
                <a:gd name="connsiteY17" fmla="*/ 338281 h 569099"/>
                <a:gd name="connsiteX18" fmla="*/ 214351 w 435236"/>
                <a:gd name="connsiteY18" fmla="*/ 501315 h 569099"/>
                <a:gd name="connsiteX19" fmla="*/ 377385 w 435236"/>
                <a:gd name="connsiteY19" fmla="*/ 338281 h 569099"/>
                <a:gd name="connsiteX20" fmla="*/ 214351 w 435236"/>
                <a:gd name="connsiteY20" fmla="*/ 175247 h 569099"/>
                <a:gd name="connsiteX21" fmla="*/ 0 w 435236"/>
                <a:gd name="connsiteY21" fmla="*/ 126129 h 569099"/>
                <a:gd name="connsiteX22" fmla="*/ 435236 w 435236"/>
                <a:gd name="connsiteY22" fmla="*/ 126129 h 569099"/>
                <a:gd name="connsiteX23" fmla="*/ 435236 w 435236"/>
                <a:gd name="connsiteY23" fmla="*/ 569099 h 569099"/>
                <a:gd name="connsiteX24" fmla="*/ 0 w 435236"/>
                <a:gd name="connsiteY24" fmla="*/ 569099 h 569099"/>
                <a:gd name="connsiteX25" fmla="*/ 55255 w 435236"/>
                <a:gd name="connsiteY25" fmla="*/ 34812 h 569099"/>
                <a:gd name="connsiteX26" fmla="*/ 55255 w 435236"/>
                <a:gd name="connsiteY26" fmla="*/ 80532 h 569099"/>
                <a:gd name="connsiteX27" fmla="*/ 211846 w 435236"/>
                <a:gd name="connsiteY27" fmla="*/ 80532 h 569099"/>
                <a:gd name="connsiteX28" fmla="*/ 211846 w 435236"/>
                <a:gd name="connsiteY28" fmla="*/ 34812 h 569099"/>
                <a:gd name="connsiteX29" fmla="*/ 0 w 435236"/>
                <a:gd name="connsiteY29" fmla="*/ 0 h 569099"/>
                <a:gd name="connsiteX30" fmla="*/ 435236 w 435236"/>
                <a:gd name="connsiteY30" fmla="*/ 0 h 569099"/>
                <a:gd name="connsiteX31" fmla="*/ 435236 w 435236"/>
                <a:gd name="connsiteY31" fmla="*/ 108601 h 569099"/>
                <a:gd name="connsiteX32" fmla="*/ 0 w 435236"/>
                <a:gd name="connsiteY32" fmla="*/ 108601 h 569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35236" h="569099">
                  <a:moveTo>
                    <a:pt x="222099" y="228303"/>
                  </a:moveTo>
                  <a:cubicBezTo>
                    <a:pt x="161361" y="228303"/>
                    <a:pt x="112123" y="277541"/>
                    <a:pt x="112123" y="338279"/>
                  </a:cubicBezTo>
                  <a:cubicBezTo>
                    <a:pt x="112123" y="399017"/>
                    <a:pt x="161361" y="448255"/>
                    <a:pt x="222099" y="448255"/>
                  </a:cubicBezTo>
                  <a:cubicBezTo>
                    <a:pt x="252468" y="448255"/>
                    <a:pt x="279962" y="435946"/>
                    <a:pt x="299864" y="416044"/>
                  </a:cubicBezTo>
                  <a:lnTo>
                    <a:pt x="314373" y="394524"/>
                  </a:lnTo>
                  <a:lnTo>
                    <a:pt x="297359" y="383053"/>
                  </a:lnTo>
                  <a:cubicBezTo>
                    <a:pt x="286500" y="372195"/>
                    <a:pt x="279784" y="357194"/>
                    <a:pt x="279784" y="340624"/>
                  </a:cubicBezTo>
                  <a:cubicBezTo>
                    <a:pt x="279784" y="315770"/>
                    <a:pt x="294896" y="294445"/>
                    <a:pt x="316432" y="285336"/>
                  </a:cubicBezTo>
                  <a:lnTo>
                    <a:pt x="316579" y="285306"/>
                  </a:lnTo>
                  <a:lnTo>
                    <a:pt x="299864" y="260514"/>
                  </a:lnTo>
                  <a:cubicBezTo>
                    <a:pt x="279962" y="240613"/>
                    <a:pt x="252468" y="228303"/>
                    <a:pt x="222099" y="228303"/>
                  </a:cubicBezTo>
                  <a:close/>
                  <a:moveTo>
                    <a:pt x="214351" y="201163"/>
                  </a:moveTo>
                  <a:cubicBezTo>
                    <a:pt x="290079" y="201163"/>
                    <a:pt x="351469" y="262553"/>
                    <a:pt x="351469" y="338281"/>
                  </a:cubicBezTo>
                  <a:cubicBezTo>
                    <a:pt x="351469" y="414009"/>
                    <a:pt x="290079" y="475399"/>
                    <a:pt x="214351" y="475399"/>
                  </a:cubicBezTo>
                  <a:cubicBezTo>
                    <a:pt x="138623" y="475399"/>
                    <a:pt x="77233" y="414009"/>
                    <a:pt x="77233" y="338281"/>
                  </a:cubicBezTo>
                  <a:cubicBezTo>
                    <a:pt x="77233" y="262553"/>
                    <a:pt x="138623" y="201163"/>
                    <a:pt x="214351" y="201163"/>
                  </a:cubicBezTo>
                  <a:close/>
                  <a:moveTo>
                    <a:pt x="214351" y="175247"/>
                  </a:moveTo>
                  <a:cubicBezTo>
                    <a:pt x="124310" y="175247"/>
                    <a:pt x="51317" y="248240"/>
                    <a:pt x="51317" y="338281"/>
                  </a:cubicBezTo>
                  <a:cubicBezTo>
                    <a:pt x="51317" y="428322"/>
                    <a:pt x="124310" y="501315"/>
                    <a:pt x="214351" y="501315"/>
                  </a:cubicBezTo>
                  <a:cubicBezTo>
                    <a:pt x="304392" y="501315"/>
                    <a:pt x="377385" y="428322"/>
                    <a:pt x="377385" y="338281"/>
                  </a:cubicBezTo>
                  <a:cubicBezTo>
                    <a:pt x="377385" y="248240"/>
                    <a:pt x="304392" y="175247"/>
                    <a:pt x="214351" y="175247"/>
                  </a:cubicBezTo>
                  <a:close/>
                  <a:moveTo>
                    <a:pt x="0" y="126129"/>
                  </a:moveTo>
                  <a:lnTo>
                    <a:pt x="435236" y="126129"/>
                  </a:lnTo>
                  <a:lnTo>
                    <a:pt x="435236" y="569099"/>
                  </a:lnTo>
                  <a:lnTo>
                    <a:pt x="0" y="569099"/>
                  </a:lnTo>
                  <a:close/>
                  <a:moveTo>
                    <a:pt x="55255" y="34812"/>
                  </a:moveTo>
                  <a:lnTo>
                    <a:pt x="55255" y="80532"/>
                  </a:lnTo>
                  <a:lnTo>
                    <a:pt x="211846" y="80532"/>
                  </a:lnTo>
                  <a:lnTo>
                    <a:pt x="211846" y="34812"/>
                  </a:lnTo>
                  <a:close/>
                  <a:moveTo>
                    <a:pt x="0" y="0"/>
                  </a:moveTo>
                  <a:lnTo>
                    <a:pt x="435236" y="0"/>
                  </a:lnTo>
                  <a:lnTo>
                    <a:pt x="435236" y="108601"/>
                  </a:lnTo>
                  <a:lnTo>
                    <a:pt x="0" y="108601"/>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a:gradFill>
                  <a:gsLst>
                    <a:gs pos="0">
                      <a:srgbClr val="FFFFFF"/>
                    </a:gs>
                    <a:gs pos="100000">
                      <a:srgbClr val="FFFFFF"/>
                    </a:gs>
                  </a:gsLst>
                  <a:lin ang="5400000" scaled="0"/>
                </a:gradFill>
                <a:ea typeface="Segoe UI" pitchFamily="34" charset="0"/>
                <a:cs typeface="Segoe UI" pitchFamily="34" charset="0"/>
              </a:endParaRPr>
            </a:p>
          </p:txBody>
        </p:sp>
        <p:sp>
          <p:nvSpPr>
            <p:cNvPr id="4748" name="Freeform 4747"/>
            <p:cNvSpPr>
              <a:spLocks noChangeAspect="1"/>
            </p:cNvSpPr>
            <p:nvPr/>
          </p:nvSpPr>
          <p:spPr bwMode="auto">
            <a:xfrm>
              <a:off x="1707868" y="303703"/>
              <a:ext cx="978643" cy="1347510"/>
            </a:xfrm>
            <a:custGeom>
              <a:avLst/>
              <a:gdLst>
                <a:gd name="connsiteX0" fmla="*/ 201271 w 413314"/>
                <a:gd name="connsiteY0" fmla="*/ 201225 h 569099"/>
                <a:gd name="connsiteX1" fmla="*/ 338389 w 413314"/>
                <a:gd name="connsiteY1" fmla="*/ 338343 h 569099"/>
                <a:gd name="connsiteX2" fmla="*/ 201271 w 413314"/>
                <a:gd name="connsiteY2" fmla="*/ 475461 h 569099"/>
                <a:gd name="connsiteX3" fmla="*/ 74929 w 413314"/>
                <a:gd name="connsiteY3" fmla="*/ 391716 h 569099"/>
                <a:gd name="connsiteX4" fmla="*/ 68768 w 413314"/>
                <a:gd name="connsiteY4" fmla="*/ 361202 h 569099"/>
                <a:gd name="connsiteX5" fmla="*/ 116795 w 413314"/>
                <a:gd name="connsiteY5" fmla="*/ 361202 h 569099"/>
                <a:gd name="connsiteX6" fmla="*/ 116795 w 413314"/>
                <a:gd name="connsiteY6" fmla="*/ 315483 h 569099"/>
                <a:gd name="connsiteX7" fmla="*/ 68768 w 413314"/>
                <a:gd name="connsiteY7" fmla="*/ 315483 h 569099"/>
                <a:gd name="connsiteX8" fmla="*/ 74929 w 413314"/>
                <a:gd name="connsiteY8" fmla="*/ 284971 h 569099"/>
                <a:gd name="connsiteX9" fmla="*/ 201271 w 413314"/>
                <a:gd name="connsiteY9" fmla="*/ 201225 h 569099"/>
                <a:gd name="connsiteX10" fmla="*/ 201271 w 413314"/>
                <a:gd name="connsiteY10" fmla="*/ 175309 h 569099"/>
                <a:gd name="connsiteX11" fmla="*/ 38237 w 413314"/>
                <a:gd name="connsiteY11" fmla="*/ 338343 h 569099"/>
                <a:gd name="connsiteX12" fmla="*/ 201271 w 413314"/>
                <a:gd name="connsiteY12" fmla="*/ 501377 h 569099"/>
                <a:gd name="connsiteX13" fmla="*/ 364305 w 413314"/>
                <a:gd name="connsiteY13" fmla="*/ 338343 h 569099"/>
                <a:gd name="connsiteX14" fmla="*/ 201271 w 413314"/>
                <a:gd name="connsiteY14" fmla="*/ 175309 h 569099"/>
                <a:gd name="connsiteX15" fmla="*/ 0 w 413314"/>
                <a:gd name="connsiteY15" fmla="*/ 126129 h 569099"/>
                <a:gd name="connsiteX16" fmla="*/ 413314 w 413314"/>
                <a:gd name="connsiteY16" fmla="*/ 126129 h 569099"/>
                <a:gd name="connsiteX17" fmla="*/ 413314 w 413314"/>
                <a:gd name="connsiteY17" fmla="*/ 569099 h 569099"/>
                <a:gd name="connsiteX18" fmla="*/ 0 w 413314"/>
                <a:gd name="connsiteY18" fmla="*/ 569099 h 569099"/>
                <a:gd name="connsiteX19" fmla="*/ 55255 w 413314"/>
                <a:gd name="connsiteY19" fmla="*/ 34812 h 569099"/>
                <a:gd name="connsiteX20" fmla="*/ 55255 w 413314"/>
                <a:gd name="connsiteY20" fmla="*/ 80532 h 569099"/>
                <a:gd name="connsiteX21" fmla="*/ 203959 w 413314"/>
                <a:gd name="connsiteY21" fmla="*/ 80532 h 569099"/>
                <a:gd name="connsiteX22" fmla="*/ 203959 w 413314"/>
                <a:gd name="connsiteY22" fmla="*/ 34812 h 569099"/>
                <a:gd name="connsiteX23" fmla="*/ 0 w 413314"/>
                <a:gd name="connsiteY23" fmla="*/ 0 h 569099"/>
                <a:gd name="connsiteX24" fmla="*/ 413314 w 413314"/>
                <a:gd name="connsiteY24" fmla="*/ 0 h 569099"/>
                <a:gd name="connsiteX25" fmla="*/ 413314 w 413314"/>
                <a:gd name="connsiteY25" fmla="*/ 108601 h 569099"/>
                <a:gd name="connsiteX26" fmla="*/ 0 w 413314"/>
                <a:gd name="connsiteY26" fmla="*/ 108601 h 569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13314" h="569099">
                  <a:moveTo>
                    <a:pt x="201271" y="201225"/>
                  </a:moveTo>
                  <a:cubicBezTo>
                    <a:pt x="276999" y="201225"/>
                    <a:pt x="338389" y="262615"/>
                    <a:pt x="338389" y="338343"/>
                  </a:cubicBezTo>
                  <a:cubicBezTo>
                    <a:pt x="338389" y="414071"/>
                    <a:pt x="276999" y="475461"/>
                    <a:pt x="201271" y="475461"/>
                  </a:cubicBezTo>
                  <a:cubicBezTo>
                    <a:pt x="144475" y="475461"/>
                    <a:pt x="95744" y="440929"/>
                    <a:pt x="74929" y="391716"/>
                  </a:cubicBezTo>
                  <a:lnTo>
                    <a:pt x="68768" y="361202"/>
                  </a:lnTo>
                  <a:lnTo>
                    <a:pt x="116795" y="361202"/>
                  </a:lnTo>
                  <a:lnTo>
                    <a:pt x="116795" y="315483"/>
                  </a:lnTo>
                  <a:lnTo>
                    <a:pt x="68768" y="315483"/>
                  </a:lnTo>
                  <a:lnTo>
                    <a:pt x="74929" y="284971"/>
                  </a:lnTo>
                  <a:cubicBezTo>
                    <a:pt x="95744" y="235757"/>
                    <a:pt x="144475" y="201225"/>
                    <a:pt x="201271" y="201225"/>
                  </a:cubicBezTo>
                  <a:close/>
                  <a:moveTo>
                    <a:pt x="201271" y="175309"/>
                  </a:moveTo>
                  <a:cubicBezTo>
                    <a:pt x="111230" y="175309"/>
                    <a:pt x="38237" y="248302"/>
                    <a:pt x="38237" y="338343"/>
                  </a:cubicBezTo>
                  <a:cubicBezTo>
                    <a:pt x="38237" y="428384"/>
                    <a:pt x="111230" y="501377"/>
                    <a:pt x="201271" y="501377"/>
                  </a:cubicBezTo>
                  <a:cubicBezTo>
                    <a:pt x="291312" y="501377"/>
                    <a:pt x="364305" y="428384"/>
                    <a:pt x="364305" y="338343"/>
                  </a:cubicBezTo>
                  <a:cubicBezTo>
                    <a:pt x="364305" y="248302"/>
                    <a:pt x="291312" y="175309"/>
                    <a:pt x="201271" y="175309"/>
                  </a:cubicBezTo>
                  <a:close/>
                  <a:moveTo>
                    <a:pt x="0" y="126129"/>
                  </a:moveTo>
                  <a:lnTo>
                    <a:pt x="413314" y="126129"/>
                  </a:lnTo>
                  <a:lnTo>
                    <a:pt x="413314" y="569099"/>
                  </a:lnTo>
                  <a:lnTo>
                    <a:pt x="0" y="569099"/>
                  </a:lnTo>
                  <a:close/>
                  <a:moveTo>
                    <a:pt x="55255" y="34812"/>
                  </a:moveTo>
                  <a:lnTo>
                    <a:pt x="55255" y="80532"/>
                  </a:lnTo>
                  <a:lnTo>
                    <a:pt x="203959" y="80532"/>
                  </a:lnTo>
                  <a:lnTo>
                    <a:pt x="203959" y="34812"/>
                  </a:lnTo>
                  <a:close/>
                  <a:moveTo>
                    <a:pt x="0" y="0"/>
                  </a:moveTo>
                  <a:lnTo>
                    <a:pt x="413314" y="0"/>
                  </a:lnTo>
                  <a:lnTo>
                    <a:pt x="413314" y="108601"/>
                  </a:lnTo>
                  <a:lnTo>
                    <a:pt x="0" y="108601"/>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4751" name="Freeform 4750"/>
          <p:cNvSpPr>
            <a:spLocks noChangeAspect="1"/>
          </p:cNvSpPr>
          <p:nvPr/>
        </p:nvSpPr>
        <p:spPr bwMode="auto">
          <a:xfrm>
            <a:off x="2446658" y="3703571"/>
            <a:ext cx="365390" cy="411322"/>
          </a:xfrm>
          <a:custGeom>
            <a:avLst/>
            <a:gdLst/>
            <a:ahLst/>
            <a:cxnLst/>
            <a:rect l="l" t="t" r="r" b="b"/>
            <a:pathLst>
              <a:path w="1407693" h="1585061">
                <a:moveTo>
                  <a:pt x="730748" y="761777"/>
                </a:moveTo>
                <a:lnTo>
                  <a:pt x="730748" y="1039248"/>
                </a:lnTo>
                <a:lnTo>
                  <a:pt x="1008219" y="1039248"/>
                </a:lnTo>
                <a:lnTo>
                  <a:pt x="1008219" y="761777"/>
                </a:lnTo>
                <a:close/>
                <a:moveTo>
                  <a:pt x="399473" y="761777"/>
                </a:moveTo>
                <a:lnTo>
                  <a:pt x="399473" y="1039248"/>
                </a:lnTo>
                <a:lnTo>
                  <a:pt x="676944" y="1039248"/>
                </a:lnTo>
                <a:lnTo>
                  <a:pt x="676944" y="761777"/>
                </a:lnTo>
                <a:close/>
                <a:moveTo>
                  <a:pt x="730748" y="450663"/>
                </a:moveTo>
                <a:lnTo>
                  <a:pt x="730748" y="728134"/>
                </a:lnTo>
                <a:lnTo>
                  <a:pt x="1008219" y="728134"/>
                </a:lnTo>
                <a:lnTo>
                  <a:pt x="1008219" y="450663"/>
                </a:lnTo>
                <a:close/>
                <a:moveTo>
                  <a:pt x="399473" y="450663"/>
                </a:moveTo>
                <a:lnTo>
                  <a:pt x="399473" y="728134"/>
                </a:lnTo>
                <a:lnTo>
                  <a:pt x="676944" y="728134"/>
                </a:lnTo>
                <a:lnTo>
                  <a:pt x="676944" y="450663"/>
                </a:lnTo>
                <a:close/>
                <a:moveTo>
                  <a:pt x="695394" y="0"/>
                </a:moveTo>
                <a:cubicBezTo>
                  <a:pt x="895720" y="148883"/>
                  <a:pt x="1163791" y="186000"/>
                  <a:pt x="1407693" y="200525"/>
                </a:cubicBezTo>
                <a:cubicBezTo>
                  <a:pt x="1390747" y="285860"/>
                  <a:pt x="1461517" y="1376262"/>
                  <a:pt x="694708" y="1585061"/>
                </a:cubicBezTo>
                <a:cubicBezTo>
                  <a:pt x="23523" y="1327239"/>
                  <a:pt x="4842" y="669975"/>
                  <a:pt x="0" y="196090"/>
                </a:cubicBezTo>
                <a:cubicBezTo>
                  <a:pt x="235429" y="194275"/>
                  <a:pt x="456333" y="161593"/>
                  <a:pt x="695394"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a:gradFill>
                <a:gsLst>
                  <a:gs pos="0">
                    <a:srgbClr val="FFFFFF"/>
                  </a:gs>
                  <a:gs pos="100000">
                    <a:srgbClr val="FFFFFF"/>
                  </a:gs>
                </a:gsLst>
                <a:lin ang="5400000" scaled="0"/>
              </a:gradFill>
              <a:ea typeface="Segoe UI" pitchFamily="34" charset="0"/>
              <a:cs typeface="Segoe UI" pitchFamily="34" charset="0"/>
            </a:endParaRPr>
          </a:p>
        </p:txBody>
      </p:sp>
      <p:sp>
        <p:nvSpPr>
          <p:cNvPr id="4752" name="Rectangle 2048"/>
          <p:cNvSpPr>
            <a:spLocks noChangeAspect="1"/>
          </p:cNvSpPr>
          <p:nvPr/>
        </p:nvSpPr>
        <p:spPr bwMode="auto">
          <a:xfrm flipV="1">
            <a:off x="2866606" y="2912044"/>
            <a:ext cx="306974" cy="568665"/>
          </a:xfrm>
          <a:custGeom>
            <a:avLst/>
            <a:gdLst/>
            <a:ahLst/>
            <a:cxnLst/>
            <a:rect l="l" t="t" r="r" b="b"/>
            <a:pathLst>
              <a:path w="1402492" h="2959444">
                <a:moveTo>
                  <a:pt x="0" y="37870"/>
                </a:moveTo>
                <a:lnTo>
                  <a:pt x="1402492" y="37870"/>
                </a:lnTo>
                <a:lnTo>
                  <a:pt x="1402492" y="0"/>
                </a:lnTo>
                <a:lnTo>
                  <a:pt x="0" y="0"/>
                </a:lnTo>
                <a:close/>
                <a:moveTo>
                  <a:pt x="1122231" y="170769"/>
                </a:moveTo>
                <a:cubicBezTo>
                  <a:pt x="1117181" y="170769"/>
                  <a:pt x="1113087" y="166675"/>
                  <a:pt x="1113087" y="161625"/>
                </a:cubicBezTo>
                <a:lnTo>
                  <a:pt x="1113087" y="88473"/>
                </a:lnTo>
                <a:cubicBezTo>
                  <a:pt x="1113087" y="83423"/>
                  <a:pt x="1117181" y="79329"/>
                  <a:pt x="1122231" y="79329"/>
                </a:cubicBezTo>
                <a:cubicBezTo>
                  <a:pt x="1127281" y="79329"/>
                  <a:pt x="1131375" y="83423"/>
                  <a:pt x="1131375" y="88473"/>
                </a:cubicBezTo>
                <a:lnTo>
                  <a:pt x="1131375" y="161625"/>
                </a:lnTo>
                <a:cubicBezTo>
                  <a:pt x="1131375" y="166675"/>
                  <a:pt x="1127281" y="170769"/>
                  <a:pt x="1122231" y="170769"/>
                </a:cubicBezTo>
                <a:close/>
                <a:moveTo>
                  <a:pt x="1094233" y="170769"/>
                </a:moveTo>
                <a:cubicBezTo>
                  <a:pt x="1089183" y="170769"/>
                  <a:pt x="1085089" y="166675"/>
                  <a:pt x="1085089" y="161625"/>
                </a:cubicBezTo>
                <a:lnTo>
                  <a:pt x="1085089" y="88473"/>
                </a:lnTo>
                <a:cubicBezTo>
                  <a:pt x="1085089" y="83423"/>
                  <a:pt x="1089183" y="79329"/>
                  <a:pt x="1094233" y="79329"/>
                </a:cubicBezTo>
                <a:cubicBezTo>
                  <a:pt x="1099283" y="79329"/>
                  <a:pt x="1103377" y="83423"/>
                  <a:pt x="1103377" y="88473"/>
                </a:cubicBezTo>
                <a:lnTo>
                  <a:pt x="1103377" y="161625"/>
                </a:lnTo>
                <a:cubicBezTo>
                  <a:pt x="1103377" y="166675"/>
                  <a:pt x="1099283" y="170769"/>
                  <a:pt x="1094233" y="170769"/>
                </a:cubicBezTo>
                <a:close/>
                <a:moveTo>
                  <a:pt x="1066239" y="170769"/>
                </a:moveTo>
                <a:cubicBezTo>
                  <a:pt x="1061189" y="170769"/>
                  <a:pt x="1057095" y="166675"/>
                  <a:pt x="1057095" y="161625"/>
                </a:cubicBezTo>
                <a:lnTo>
                  <a:pt x="1057095" y="88473"/>
                </a:lnTo>
                <a:cubicBezTo>
                  <a:pt x="1057095" y="83423"/>
                  <a:pt x="1061189" y="79329"/>
                  <a:pt x="1066239" y="79329"/>
                </a:cubicBezTo>
                <a:cubicBezTo>
                  <a:pt x="1071289" y="79329"/>
                  <a:pt x="1075383" y="83423"/>
                  <a:pt x="1075383" y="88473"/>
                </a:cubicBezTo>
                <a:lnTo>
                  <a:pt x="1075383" y="161625"/>
                </a:lnTo>
                <a:cubicBezTo>
                  <a:pt x="1075383" y="166675"/>
                  <a:pt x="1071289" y="170769"/>
                  <a:pt x="1066239" y="170769"/>
                </a:cubicBezTo>
                <a:close/>
                <a:moveTo>
                  <a:pt x="1038245" y="170769"/>
                </a:moveTo>
                <a:cubicBezTo>
                  <a:pt x="1033195" y="170769"/>
                  <a:pt x="1029101" y="166675"/>
                  <a:pt x="1029101" y="161625"/>
                </a:cubicBezTo>
                <a:lnTo>
                  <a:pt x="1029101" y="88473"/>
                </a:lnTo>
                <a:cubicBezTo>
                  <a:pt x="1029101" y="83423"/>
                  <a:pt x="1033195" y="79329"/>
                  <a:pt x="1038245" y="79329"/>
                </a:cubicBezTo>
                <a:cubicBezTo>
                  <a:pt x="1043295" y="79329"/>
                  <a:pt x="1047389" y="83423"/>
                  <a:pt x="1047389" y="88473"/>
                </a:cubicBezTo>
                <a:lnTo>
                  <a:pt x="1047389" y="161625"/>
                </a:lnTo>
                <a:cubicBezTo>
                  <a:pt x="1047389" y="166675"/>
                  <a:pt x="1043295" y="170769"/>
                  <a:pt x="1038245" y="170769"/>
                </a:cubicBezTo>
                <a:close/>
                <a:moveTo>
                  <a:pt x="1010251" y="170769"/>
                </a:moveTo>
                <a:cubicBezTo>
                  <a:pt x="1005201" y="170769"/>
                  <a:pt x="1001107" y="166675"/>
                  <a:pt x="1001107" y="161625"/>
                </a:cubicBezTo>
                <a:lnTo>
                  <a:pt x="1001107" y="88473"/>
                </a:lnTo>
                <a:cubicBezTo>
                  <a:pt x="1001107" y="83423"/>
                  <a:pt x="1005201" y="79329"/>
                  <a:pt x="1010251" y="79329"/>
                </a:cubicBezTo>
                <a:cubicBezTo>
                  <a:pt x="1015301" y="79329"/>
                  <a:pt x="1019395" y="83423"/>
                  <a:pt x="1019395" y="88473"/>
                </a:cubicBezTo>
                <a:lnTo>
                  <a:pt x="1019395" y="161625"/>
                </a:lnTo>
                <a:cubicBezTo>
                  <a:pt x="1019395" y="166675"/>
                  <a:pt x="1015301" y="170769"/>
                  <a:pt x="1010251" y="170769"/>
                </a:cubicBezTo>
                <a:close/>
                <a:moveTo>
                  <a:pt x="982257" y="170769"/>
                </a:moveTo>
                <a:cubicBezTo>
                  <a:pt x="977207" y="170769"/>
                  <a:pt x="973113" y="166675"/>
                  <a:pt x="973113" y="161625"/>
                </a:cubicBezTo>
                <a:lnTo>
                  <a:pt x="973113" y="88473"/>
                </a:lnTo>
                <a:cubicBezTo>
                  <a:pt x="973113" y="83423"/>
                  <a:pt x="977207" y="79329"/>
                  <a:pt x="982257" y="79329"/>
                </a:cubicBezTo>
                <a:cubicBezTo>
                  <a:pt x="987307" y="79329"/>
                  <a:pt x="991401" y="83423"/>
                  <a:pt x="991401" y="88473"/>
                </a:cubicBezTo>
                <a:lnTo>
                  <a:pt x="991401" y="161625"/>
                </a:lnTo>
                <a:cubicBezTo>
                  <a:pt x="991401" y="166675"/>
                  <a:pt x="987307" y="170769"/>
                  <a:pt x="982257" y="170769"/>
                </a:cubicBezTo>
                <a:close/>
                <a:moveTo>
                  <a:pt x="954263" y="170769"/>
                </a:moveTo>
                <a:cubicBezTo>
                  <a:pt x="949213" y="170769"/>
                  <a:pt x="945119" y="166675"/>
                  <a:pt x="945119" y="161625"/>
                </a:cubicBezTo>
                <a:lnTo>
                  <a:pt x="945119" y="88473"/>
                </a:lnTo>
                <a:cubicBezTo>
                  <a:pt x="945119" y="83423"/>
                  <a:pt x="949213" y="79329"/>
                  <a:pt x="954263" y="79329"/>
                </a:cubicBezTo>
                <a:cubicBezTo>
                  <a:pt x="959313" y="79329"/>
                  <a:pt x="963407" y="83423"/>
                  <a:pt x="963407" y="88473"/>
                </a:cubicBezTo>
                <a:lnTo>
                  <a:pt x="963407" y="161625"/>
                </a:lnTo>
                <a:cubicBezTo>
                  <a:pt x="963407" y="166675"/>
                  <a:pt x="959313" y="170769"/>
                  <a:pt x="954263" y="170769"/>
                </a:cubicBezTo>
                <a:close/>
                <a:moveTo>
                  <a:pt x="926269" y="170769"/>
                </a:moveTo>
                <a:cubicBezTo>
                  <a:pt x="921219" y="170769"/>
                  <a:pt x="917125" y="166675"/>
                  <a:pt x="917125" y="161625"/>
                </a:cubicBezTo>
                <a:lnTo>
                  <a:pt x="917125" y="88473"/>
                </a:lnTo>
                <a:cubicBezTo>
                  <a:pt x="917125" y="83423"/>
                  <a:pt x="921219" y="79329"/>
                  <a:pt x="926269" y="79329"/>
                </a:cubicBezTo>
                <a:cubicBezTo>
                  <a:pt x="931319" y="79329"/>
                  <a:pt x="935413" y="83423"/>
                  <a:pt x="935413" y="88473"/>
                </a:cubicBezTo>
                <a:lnTo>
                  <a:pt x="935413" y="161625"/>
                </a:lnTo>
                <a:cubicBezTo>
                  <a:pt x="935413" y="166675"/>
                  <a:pt x="931319" y="170769"/>
                  <a:pt x="926269" y="170769"/>
                </a:cubicBezTo>
                <a:close/>
                <a:moveTo>
                  <a:pt x="898275" y="170769"/>
                </a:moveTo>
                <a:cubicBezTo>
                  <a:pt x="893225" y="170769"/>
                  <a:pt x="889131" y="166675"/>
                  <a:pt x="889131" y="161625"/>
                </a:cubicBezTo>
                <a:lnTo>
                  <a:pt x="889131" y="88473"/>
                </a:lnTo>
                <a:cubicBezTo>
                  <a:pt x="889131" y="83423"/>
                  <a:pt x="893225" y="79329"/>
                  <a:pt x="898275" y="79329"/>
                </a:cubicBezTo>
                <a:cubicBezTo>
                  <a:pt x="903325" y="79329"/>
                  <a:pt x="907419" y="83423"/>
                  <a:pt x="907419" y="88473"/>
                </a:cubicBezTo>
                <a:lnTo>
                  <a:pt x="907419" y="161625"/>
                </a:lnTo>
                <a:cubicBezTo>
                  <a:pt x="907419" y="166675"/>
                  <a:pt x="903325" y="170769"/>
                  <a:pt x="898275" y="170769"/>
                </a:cubicBezTo>
                <a:close/>
                <a:moveTo>
                  <a:pt x="870281" y="170769"/>
                </a:moveTo>
                <a:cubicBezTo>
                  <a:pt x="865231" y="170769"/>
                  <a:pt x="861137" y="166675"/>
                  <a:pt x="861137" y="161625"/>
                </a:cubicBezTo>
                <a:lnTo>
                  <a:pt x="861137" y="88473"/>
                </a:lnTo>
                <a:cubicBezTo>
                  <a:pt x="861137" y="83423"/>
                  <a:pt x="865231" y="79329"/>
                  <a:pt x="870281" y="79329"/>
                </a:cubicBezTo>
                <a:cubicBezTo>
                  <a:pt x="875331" y="79329"/>
                  <a:pt x="879425" y="83423"/>
                  <a:pt x="879425" y="88473"/>
                </a:cubicBezTo>
                <a:lnTo>
                  <a:pt x="879425" y="161625"/>
                </a:lnTo>
                <a:cubicBezTo>
                  <a:pt x="879425" y="166675"/>
                  <a:pt x="875331" y="170769"/>
                  <a:pt x="870281" y="170769"/>
                </a:cubicBezTo>
                <a:close/>
                <a:moveTo>
                  <a:pt x="842287" y="170769"/>
                </a:moveTo>
                <a:cubicBezTo>
                  <a:pt x="837237" y="170769"/>
                  <a:pt x="833143" y="166675"/>
                  <a:pt x="833143" y="161625"/>
                </a:cubicBezTo>
                <a:lnTo>
                  <a:pt x="833143" y="88473"/>
                </a:lnTo>
                <a:cubicBezTo>
                  <a:pt x="833143" y="83423"/>
                  <a:pt x="837237" y="79329"/>
                  <a:pt x="842287" y="79329"/>
                </a:cubicBezTo>
                <a:cubicBezTo>
                  <a:pt x="847337" y="79329"/>
                  <a:pt x="851431" y="83423"/>
                  <a:pt x="851431" y="88473"/>
                </a:cubicBezTo>
                <a:lnTo>
                  <a:pt x="851431" y="161625"/>
                </a:lnTo>
                <a:cubicBezTo>
                  <a:pt x="851431" y="166675"/>
                  <a:pt x="847337" y="170769"/>
                  <a:pt x="842287" y="170769"/>
                </a:cubicBezTo>
                <a:close/>
                <a:moveTo>
                  <a:pt x="814293" y="170769"/>
                </a:moveTo>
                <a:cubicBezTo>
                  <a:pt x="809243" y="170769"/>
                  <a:pt x="805149" y="166675"/>
                  <a:pt x="805149" y="161625"/>
                </a:cubicBezTo>
                <a:lnTo>
                  <a:pt x="805149" y="88473"/>
                </a:lnTo>
                <a:cubicBezTo>
                  <a:pt x="805149" y="83423"/>
                  <a:pt x="809243" y="79329"/>
                  <a:pt x="814293" y="79329"/>
                </a:cubicBezTo>
                <a:cubicBezTo>
                  <a:pt x="819343" y="79329"/>
                  <a:pt x="823437" y="83423"/>
                  <a:pt x="823437" y="88473"/>
                </a:cubicBezTo>
                <a:lnTo>
                  <a:pt x="823437" y="161625"/>
                </a:lnTo>
                <a:cubicBezTo>
                  <a:pt x="823437" y="166675"/>
                  <a:pt x="819343" y="170769"/>
                  <a:pt x="814293" y="170769"/>
                </a:cubicBezTo>
                <a:close/>
                <a:moveTo>
                  <a:pt x="786299" y="170769"/>
                </a:moveTo>
                <a:cubicBezTo>
                  <a:pt x="781249" y="170769"/>
                  <a:pt x="777155" y="166675"/>
                  <a:pt x="777155" y="161625"/>
                </a:cubicBezTo>
                <a:lnTo>
                  <a:pt x="777155" y="88473"/>
                </a:lnTo>
                <a:cubicBezTo>
                  <a:pt x="777155" y="83423"/>
                  <a:pt x="781249" y="79329"/>
                  <a:pt x="786299" y="79329"/>
                </a:cubicBezTo>
                <a:cubicBezTo>
                  <a:pt x="791349" y="79329"/>
                  <a:pt x="795443" y="83423"/>
                  <a:pt x="795443" y="88473"/>
                </a:cubicBezTo>
                <a:lnTo>
                  <a:pt x="795443" y="161625"/>
                </a:lnTo>
                <a:cubicBezTo>
                  <a:pt x="795443" y="166675"/>
                  <a:pt x="791349" y="170769"/>
                  <a:pt x="786299" y="170769"/>
                </a:cubicBezTo>
                <a:close/>
                <a:moveTo>
                  <a:pt x="758305" y="170769"/>
                </a:moveTo>
                <a:cubicBezTo>
                  <a:pt x="753255" y="170769"/>
                  <a:pt x="749161" y="166675"/>
                  <a:pt x="749161" y="161625"/>
                </a:cubicBezTo>
                <a:lnTo>
                  <a:pt x="749161" y="88473"/>
                </a:lnTo>
                <a:cubicBezTo>
                  <a:pt x="749161" y="83423"/>
                  <a:pt x="753255" y="79329"/>
                  <a:pt x="758305" y="79329"/>
                </a:cubicBezTo>
                <a:cubicBezTo>
                  <a:pt x="763355" y="79329"/>
                  <a:pt x="767449" y="83423"/>
                  <a:pt x="767449" y="88473"/>
                </a:cubicBezTo>
                <a:lnTo>
                  <a:pt x="767449" y="161625"/>
                </a:lnTo>
                <a:cubicBezTo>
                  <a:pt x="767449" y="166675"/>
                  <a:pt x="763355" y="170769"/>
                  <a:pt x="758305" y="170769"/>
                </a:cubicBezTo>
                <a:close/>
                <a:moveTo>
                  <a:pt x="730311" y="170769"/>
                </a:moveTo>
                <a:cubicBezTo>
                  <a:pt x="725261" y="170769"/>
                  <a:pt x="721167" y="166675"/>
                  <a:pt x="721167" y="161625"/>
                </a:cubicBezTo>
                <a:lnTo>
                  <a:pt x="721167" y="88473"/>
                </a:lnTo>
                <a:cubicBezTo>
                  <a:pt x="721167" y="83423"/>
                  <a:pt x="725261" y="79329"/>
                  <a:pt x="730311" y="79329"/>
                </a:cubicBezTo>
                <a:cubicBezTo>
                  <a:pt x="735361" y="79329"/>
                  <a:pt x="739455" y="83423"/>
                  <a:pt x="739455" y="88473"/>
                </a:cubicBezTo>
                <a:lnTo>
                  <a:pt x="739455" y="161625"/>
                </a:lnTo>
                <a:cubicBezTo>
                  <a:pt x="739455" y="166675"/>
                  <a:pt x="735361" y="170769"/>
                  <a:pt x="730311" y="170769"/>
                </a:cubicBezTo>
                <a:close/>
                <a:moveTo>
                  <a:pt x="702317" y="170769"/>
                </a:moveTo>
                <a:cubicBezTo>
                  <a:pt x="697267" y="170769"/>
                  <a:pt x="693173" y="166675"/>
                  <a:pt x="693173" y="161625"/>
                </a:cubicBezTo>
                <a:lnTo>
                  <a:pt x="693173" y="88473"/>
                </a:lnTo>
                <a:cubicBezTo>
                  <a:pt x="693173" y="83423"/>
                  <a:pt x="697267" y="79329"/>
                  <a:pt x="702317" y="79329"/>
                </a:cubicBezTo>
                <a:cubicBezTo>
                  <a:pt x="707367" y="79329"/>
                  <a:pt x="711461" y="83423"/>
                  <a:pt x="711461" y="88473"/>
                </a:cubicBezTo>
                <a:lnTo>
                  <a:pt x="711461" y="161625"/>
                </a:lnTo>
                <a:cubicBezTo>
                  <a:pt x="711461" y="166675"/>
                  <a:pt x="707367" y="170769"/>
                  <a:pt x="702317" y="170769"/>
                </a:cubicBezTo>
                <a:close/>
                <a:moveTo>
                  <a:pt x="674323" y="170769"/>
                </a:moveTo>
                <a:cubicBezTo>
                  <a:pt x="669273" y="170769"/>
                  <a:pt x="665179" y="166675"/>
                  <a:pt x="665179" y="161625"/>
                </a:cubicBezTo>
                <a:lnTo>
                  <a:pt x="665179" y="88473"/>
                </a:lnTo>
                <a:cubicBezTo>
                  <a:pt x="665179" y="83423"/>
                  <a:pt x="669273" y="79329"/>
                  <a:pt x="674323" y="79329"/>
                </a:cubicBezTo>
                <a:cubicBezTo>
                  <a:pt x="679373" y="79329"/>
                  <a:pt x="683467" y="83423"/>
                  <a:pt x="683467" y="88473"/>
                </a:cubicBezTo>
                <a:lnTo>
                  <a:pt x="683467" y="161625"/>
                </a:lnTo>
                <a:cubicBezTo>
                  <a:pt x="683467" y="166675"/>
                  <a:pt x="679373" y="170769"/>
                  <a:pt x="674323" y="170769"/>
                </a:cubicBezTo>
                <a:close/>
                <a:moveTo>
                  <a:pt x="646329" y="170769"/>
                </a:moveTo>
                <a:cubicBezTo>
                  <a:pt x="641279" y="170769"/>
                  <a:pt x="637185" y="166675"/>
                  <a:pt x="637185" y="161625"/>
                </a:cubicBezTo>
                <a:lnTo>
                  <a:pt x="637185" y="88473"/>
                </a:lnTo>
                <a:cubicBezTo>
                  <a:pt x="637185" y="83423"/>
                  <a:pt x="641279" y="79329"/>
                  <a:pt x="646329" y="79329"/>
                </a:cubicBezTo>
                <a:cubicBezTo>
                  <a:pt x="651379" y="79329"/>
                  <a:pt x="655473" y="83423"/>
                  <a:pt x="655473" y="88473"/>
                </a:cubicBezTo>
                <a:lnTo>
                  <a:pt x="655473" y="161625"/>
                </a:lnTo>
                <a:cubicBezTo>
                  <a:pt x="655473" y="166675"/>
                  <a:pt x="651379" y="170769"/>
                  <a:pt x="646329" y="170769"/>
                </a:cubicBezTo>
                <a:close/>
                <a:moveTo>
                  <a:pt x="618335" y="170769"/>
                </a:moveTo>
                <a:cubicBezTo>
                  <a:pt x="613285" y="170769"/>
                  <a:pt x="609191" y="166675"/>
                  <a:pt x="609191" y="161625"/>
                </a:cubicBezTo>
                <a:lnTo>
                  <a:pt x="609191" y="88473"/>
                </a:lnTo>
                <a:cubicBezTo>
                  <a:pt x="609191" y="83423"/>
                  <a:pt x="613285" y="79329"/>
                  <a:pt x="618335" y="79329"/>
                </a:cubicBezTo>
                <a:cubicBezTo>
                  <a:pt x="623385" y="79329"/>
                  <a:pt x="627479" y="83423"/>
                  <a:pt x="627479" y="88473"/>
                </a:cubicBezTo>
                <a:lnTo>
                  <a:pt x="627479" y="161625"/>
                </a:lnTo>
                <a:cubicBezTo>
                  <a:pt x="627479" y="166675"/>
                  <a:pt x="623385" y="170769"/>
                  <a:pt x="618335" y="170769"/>
                </a:cubicBezTo>
                <a:close/>
                <a:moveTo>
                  <a:pt x="590341" y="170769"/>
                </a:moveTo>
                <a:cubicBezTo>
                  <a:pt x="585291" y="170769"/>
                  <a:pt x="581197" y="166675"/>
                  <a:pt x="581197" y="161625"/>
                </a:cubicBezTo>
                <a:lnTo>
                  <a:pt x="581197" y="88473"/>
                </a:lnTo>
                <a:cubicBezTo>
                  <a:pt x="581197" y="83423"/>
                  <a:pt x="585291" y="79329"/>
                  <a:pt x="590341" y="79329"/>
                </a:cubicBezTo>
                <a:cubicBezTo>
                  <a:pt x="595391" y="79329"/>
                  <a:pt x="599485" y="83423"/>
                  <a:pt x="599485" y="88473"/>
                </a:cubicBezTo>
                <a:lnTo>
                  <a:pt x="599485" y="161625"/>
                </a:lnTo>
                <a:cubicBezTo>
                  <a:pt x="599485" y="166675"/>
                  <a:pt x="595391" y="170769"/>
                  <a:pt x="590341" y="170769"/>
                </a:cubicBezTo>
                <a:close/>
                <a:moveTo>
                  <a:pt x="562347" y="170769"/>
                </a:moveTo>
                <a:cubicBezTo>
                  <a:pt x="557297" y="170769"/>
                  <a:pt x="553203" y="166675"/>
                  <a:pt x="553203" y="161625"/>
                </a:cubicBezTo>
                <a:lnTo>
                  <a:pt x="553203" y="88473"/>
                </a:lnTo>
                <a:cubicBezTo>
                  <a:pt x="553203" y="83423"/>
                  <a:pt x="557297" y="79329"/>
                  <a:pt x="562347" y="79329"/>
                </a:cubicBezTo>
                <a:cubicBezTo>
                  <a:pt x="567397" y="79329"/>
                  <a:pt x="571491" y="83423"/>
                  <a:pt x="571491" y="88473"/>
                </a:cubicBezTo>
                <a:lnTo>
                  <a:pt x="571491" y="161625"/>
                </a:lnTo>
                <a:cubicBezTo>
                  <a:pt x="571491" y="166675"/>
                  <a:pt x="567397" y="170769"/>
                  <a:pt x="562347" y="170769"/>
                </a:cubicBezTo>
                <a:close/>
                <a:moveTo>
                  <a:pt x="534353" y="170769"/>
                </a:moveTo>
                <a:cubicBezTo>
                  <a:pt x="529303" y="170769"/>
                  <a:pt x="525209" y="166675"/>
                  <a:pt x="525209" y="161625"/>
                </a:cubicBezTo>
                <a:lnTo>
                  <a:pt x="525209" y="88473"/>
                </a:lnTo>
                <a:cubicBezTo>
                  <a:pt x="525209" y="83423"/>
                  <a:pt x="529303" y="79329"/>
                  <a:pt x="534353" y="79329"/>
                </a:cubicBezTo>
                <a:cubicBezTo>
                  <a:pt x="539403" y="79329"/>
                  <a:pt x="543497" y="83423"/>
                  <a:pt x="543497" y="88473"/>
                </a:cubicBezTo>
                <a:lnTo>
                  <a:pt x="543497" y="161625"/>
                </a:lnTo>
                <a:cubicBezTo>
                  <a:pt x="543497" y="166675"/>
                  <a:pt x="539403" y="170769"/>
                  <a:pt x="534353" y="170769"/>
                </a:cubicBezTo>
                <a:close/>
                <a:moveTo>
                  <a:pt x="506359" y="170769"/>
                </a:moveTo>
                <a:cubicBezTo>
                  <a:pt x="501309" y="170769"/>
                  <a:pt x="497215" y="166675"/>
                  <a:pt x="497215" y="161625"/>
                </a:cubicBezTo>
                <a:lnTo>
                  <a:pt x="497215" y="88473"/>
                </a:lnTo>
                <a:cubicBezTo>
                  <a:pt x="497215" y="83423"/>
                  <a:pt x="501309" y="79329"/>
                  <a:pt x="506359" y="79329"/>
                </a:cubicBezTo>
                <a:cubicBezTo>
                  <a:pt x="511409" y="79329"/>
                  <a:pt x="515503" y="83423"/>
                  <a:pt x="515503" y="88473"/>
                </a:cubicBezTo>
                <a:lnTo>
                  <a:pt x="515503" y="161625"/>
                </a:lnTo>
                <a:cubicBezTo>
                  <a:pt x="515503" y="166675"/>
                  <a:pt x="511409" y="170769"/>
                  <a:pt x="506359" y="170769"/>
                </a:cubicBezTo>
                <a:close/>
                <a:moveTo>
                  <a:pt x="478365" y="170769"/>
                </a:moveTo>
                <a:cubicBezTo>
                  <a:pt x="473315" y="170769"/>
                  <a:pt x="469221" y="166675"/>
                  <a:pt x="469221" y="161625"/>
                </a:cubicBezTo>
                <a:lnTo>
                  <a:pt x="469221" y="88473"/>
                </a:lnTo>
                <a:cubicBezTo>
                  <a:pt x="469221" y="83423"/>
                  <a:pt x="473315" y="79329"/>
                  <a:pt x="478365" y="79329"/>
                </a:cubicBezTo>
                <a:cubicBezTo>
                  <a:pt x="483415" y="79329"/>
                  <a:pt x="487509" y="83423"/>
                  <a:pt x="487509" y="88473"/>
                </a:cubicBezTo>
                <a:lnTo>
                  <a:pt x="487509" y="161625"/>
                </a:lnTo>
                <a:cubicBezTo>
                  <a:pt x="487509" y="166675"/>
                  <a:pt x="483415" y="170769"/>
                  <a:pt x="478365" y="170769"/>
                </a:cubicBezTo>
                <a:close/>
                <a:moveTo>
                  <a:pt x="450371" y="170769"/>
                </a:moveTo>
                <a:cubicBezTo>
                  <a:pt x="445321" y="170769"/>
                  <a:pt x="441227" y="166675"/>
                  <a:pt x="441227" y="161625"/>
                </a:cubicBezTo>
                <a:lnTo>
                  <a:pt x="441227" y="88473"/>
                </a:lnTo>
                <a:cubicBezTo>
                  <a:pt x="441227" y="83423"/>
                  <a:pt x="445321" y="79329"/>
                  <a:pt x="450371" y="79329"/>
                </a:cubicBezTo>
                <a:cubicBezTo>
                  <a:pt x="455421" y="79329"/>
                  <a:pt x="459515" y="83423"/>
                  <a:pt x="459515" y="88473"/>
                </a:cubicBezTo>
                <a:lnTo>
                  <a:pt x="459515" y="161625"/>
                </a:lnTo>
                <a:cubicBezTo>
                  <a:pt x="459515" y="166675"/>
                  <a:pt x="455421" y="170769"/>
                  <a:pt x="450371" y="170769"/>
                </a:cubicBezTo>
                <a:close/>
                <a:moveTo>
                  <a:pt x="422377" y="170769"/>
                </a:moveTo>
                <a:cubicBezTo>
                  <a:pt x="417327" y="170769"/>
                  <a:pt x="413233" y="166675"/>
                  <a:pt x="413233" y="161625"/>
                </a:cubicBezTo>
                <a:lnTo>
                  <a:pt x="413233" y="88473"/>
                </a:lnTo>
                <a:cubicBezTo>
                  <a:pt x="413233" y="83423"/>
                  <a:pt x="417327" y="79329"/>
                  <a:pt x="422377" y="79329"/>
                </a:cubicBezTo>
                <a:cubicBezTo>
                  <a:pt x="427427" y="79329"/>
                  <a:pt x="431521" y="83423"/>
                  <a:pt x="431521" y="88473"/>
                </a:cubicBezTo>
                <a:lnTo>
                  <a:pt x="431521" y="161625"/>
                </a:lnTo>
                <a:cubicBezTo>
                  <a:pt x="431521" y="166675"/>
                  <a:pt x="427427" y="170769"/>
                  <a:pt x="422377" y="170769"/>
                </a:cubicBezTo>
                <a:close/>
                <a:moveTo>
                  <a:pt x="394383" y="170769"/>
                </a:moveTo>
                <a:cubicBezTo>
                  <a:pt x="389333" y="170769"/>
                  <a:pt x="385239" y="166675"/>
                  <a:pt x="385239" y="161625"/>
                </a:cubicBezTo>
                <a:lnTo>
                  <a:pt x="385239" y="88473"/>
                </a:lnTo>
                <a:cubicBezTo>
                  <a:pt x="385239" y="83423"/>
                  <a:pt x="389333" y="79329"/>
                  <a:pt x="394383" y="79329"/>
                </a:cubicBezTo>
                <a:cubicBezTo>
                  <a:pt x="399433" y="79329"/>
                  <a:pt x="403527" y="83423"/>
                  <a:pt x="403527" y="88473"/>
                </a:cubicBezTo>
                <a:lnTo>
                  <a:pt x="403527" y="161625"/>
                </a:lnTo>
                <a:cubicBezTo>
                  <a:pt x="403527" y="166675"/>
                  <a:pt x="399433" y="170769"/>
                  <a:pt x="394383" y="170769"/>
                </a:cubicBezTo>
                <a:close/>
                <a:moveTo>
                  <a:pt x="366389" y="170769"/>
                </a:moveTo>
                <a:cubicBezTo>
                  <a:pt x="361339" y="170769"/>
                  <a:pt x="357245" y="166675"/>
                  <a:pt x="357245" y="161625"/>
                </a:cubicBezTo>
                <a:lnTo>
                  <a:pt x="357245" y="88473"/>
                </a:lnTo>
                <a:cubicBezTo>
                  <a:pt x="357245" y="83423"/>
                  <a:pt x="361339" y="79329"/>
                  <a:pt x="366389" y="79329"/>
                </a:cubicBezTo>
                <a:cubicBezTo>
                  <a:pt x="371439" y="79329"/>
                  <a:pt x="375533" y="83423"/>
                  <a:pt x="375533" y="88473"/>
                </a:cubicBezTo>
                <a:lnTo>
                  <a:pt x="375533" y="161625"/>
                </a:lnTo>
                <a:cubicBezTo>
                  <a:pt x="375533" y="166675"/>
                  <a:pt x="371439" y="170769"/>
                  <a:pt x="366389" y="170769"/>
                </a:cubicBezTo>
                <a:close/>
                <a:moveTo>
                  <a:pt x="338395" y="170769"/>
                </a:moveTo>
                <a:cubicBezTo>
                  <a:pt x="333345" y="170769"/>
                  <a:pt x="329251" y="166675"/>
                  <a:pt x="329251" y="161625"/>
                </a:cubicBezTo>
                <a:lnTo>
                  <a:pt x="329251" y="88473"/>
                </a:lnTo>
                <a:cubicBezTo>
                  <a:pt x="329251" y="83423"/>
                  <a:pt x="333345" y="79329"/>
                  <a:pt x="338395" y="79329"/>
                </a:cubicBezTo>
                <a:cubicBezTo>
                  <a:pt x="343445" y="79329"/>
                  <a:pt x="347539" y="83423"/>
                  <a:pt x="347539" y="88473"/>
                </a:cubicBezTo>
                <a:lnTo>
                  <a:pt x="347539" y="161625"/>
                </a:lnTo>
                <a:cubicBezTo>
                  <a:pt x="347539" y="166675"/>
                  <a:pt x="343445" y="170769"/>
                  <a:pt x="338395" y="170769"/>
                </a:cubicBezTo>
                <a:close/>
                <a:moveTo>
                  <a:pt x="310401" y="170769"/>
                </a:moveTo>
                <a:cubicBezTo>
                  <a:pt x="305351" y="170769"/>
                  <a:pt x="301257" y="166675"/>
                  <a:pt x="301257" y="161625"/>
                </a:cubicBezTo>
                <a:lnTo>
                  <a:pt x="301257" y="88473"/>
                </a:lnTo>
                <a:cubicBezTo>
                  <a:pt x="301257" y="83423"/>
                  <a:pt x="305351" y="79329"/>
                  <a:pt x="310401" y="79329"/>
                </a:cubicBezTo>
                <a:cubicBezTo>
                  <a:pt x="315451" y="79329"/>
                  <a:pt x="319545" y="83423"/>
                  <a:pt x="319545" y="88473"/>
                </a:cubicBezTo>
                <a:lnTo>
                  <a:pt x="319545" y="161625"/>
                </a:lnTo>
                <a:cubicBezTo>
                  <a:pt x="319545" y="166675"/>
                  <a:pt x="315451" y="170769"/>
                  <a:pt x="310401" y="170769"/>
                </a:cubicBezTo>
                <a:close/>
                <a:moveTo>
                  <a:pt x="282407" y="170769"/>
                </a:moveTo>
                <a:cubicBezTo>
                  <a:pt x="277357" y="170769"/>
                  <a:pt x="273263" y="166675"/>
                  <a:pt x="273263" y="161625"/>
                </a:cubicBezTo>
                <a:lnTo>
                  <a:pt x="273263" y="88473"/>
                </a:lnTo>
                <a:cubicBezTo>
                  <a:pt x="273263" y="83423"/>
                  <a:pt x="277357" y="79329"/>
                  <a:pt x="282407" y="79329"/>
                </a:cubicBezTo>
                <a:cubicBezTo>
                  <a:pt x="287457" y="79329"/>
                  <a:pt x="291551" y="83423"/>
                  <a:pt x="291551" y="88473"/>
                </a:cubicBezTo>
                <a:lnTo>
                  <a:pt x="291551" y="161625"/>
                </a:lnTo>
                <a:cubicBezTo>
                  <a:pt x="291551" y="166675"/>
                  <a:pt x="287457" y="170769"/>
                  <a:pt x="282407" y="170769"/>
                </a:cubicBezTo>
                <a:close/>
                <a:moveTo>
                  <a:pt x="0" y="187436"/>
                </a:moveTo>
                <a:lnTo>
                  <a:pt x="1402492" y="187436"/>
                </a:lnTo>
                <a:lnTo>
                  <a:pt x="1402492" y="56158"/>
                </a:lnTo>
                <a:lnTo>
                  <a:pt x="0" y="56158"/>
                </a:lnTo>
                <a:close/>
                <a:moveTo>
                  <a:pt x="448311" y="646221"/>
                </a:moveTo>
                <a:cubicBezTo>
                  <a:pt x="435378" y="646221"/>
                  <a:pt x="424893" y="635736"/>
                  <a:pt x="424893" y="622803"/>
                </a:cubicBezTo>
                <a:lnTo>
                  <a:pt x="424893" y="400558"/>
                </a:lnTo>
                <a:cubicBezTo>
                  <a:pt x="424893" y="387625"/>
                  <a:pt x="435378" y="377140"/>
                  <a:pt x="448311" y="377140"/>
                </a:cubicBezTo>
                <a:lnTo>
                  <a:pt x="1211100" y="377140"/>
                </a:lnTo>
                <a:cubicBezTo>
                  <a:pt x="1224033" y="377140"/>
                  <a:pt x="1234518" y="387625"/>
                  <a:pt x="1234518" y="400558"/>
                </a:cubicBezTo>
                <a:lnTo>
                  <a:pt x="1234518" y="622803"/>
                </a:lnTo>
                <a:cubicBezTo>
                  <a:pt x="1234518" y="635736"/>
                  <a:pt x="1224033" y="646221"/>
                  <a:pt x="1211100" y="646221"/>
                </a:cubicBezTo>
                <a:close/>
                <a:moveTo>
                  <a:pt x="1157297" y="896251"/>
                </a:moveTo>
                <a:cubicBezTo>
                  <a:pt x="1142981" y="896251"/>
                  <a:pt x="1131375" y="884645"/>
                  <a:pt x="1131375" y="870329"/>
                </a:cubicBezTo>
                <a:lnTo>
                  <a:pt x="1131375" y="765012"/>
                </a:lnTo>
                <a:cubicBezTo>
                  <a:pt x="1131375" y="750696"/>
                  <a:pt x="1142981" y="739090"/>
                  <a:pt x="1157297" y="739090"/>
                </a:cubicBezTo>
                <a:lnTo>
                  <a:pt x="1260983" y="739090"/>
                </a:lnTo>
                <a:cubicBezTo>
                  <a:pt x="1275299" y="739090"/>
                  <a:pt x="1286905" y="750696"/>
                  <a:pt x="1286905" y="765012"/>
                </a:cubicBezTo>
                <a:lnTo>
                  <a:pt x="1286905" y="870329"/>
                </a:lnTo>
                <a:cubicBezTo>
                  <a:pt x="1286905" y="884645"/>
                  <a:pt x="1275299" y="896251"/>
                  <a:pt x="1260983" y="896251"/>
                </a:cubicBezTo>
                <a:close/>
                <a:moveTo>
                  <a:pt x="193380" y="1417901"/>
                </a:moveTo>
                <a:lnTo>
                  <a:pt x="236685" y="1417901"/>
                </a:lnTo>
                <a:lnTo>
                  <a:pt x="276969" y="1362511"/>
                </a:lnTo>
                <a:lnTo>
                  <a:pt x="276969" y="1190793"/>
                </a:lnTo>
                <a:lnTo>
                  <a:pt x="319776" y="1190793"/>
                </a:lnTo>
                <a:lnTo>
                  <a:pt x="319049" y="1364525"/>
                </a:lnTo>
                <a:lnTo>
                  <a:pt x="355305" y="1417901"/>
                </a:lnTo>
                <a:lnTo>
                  <a:pt x="398610" y="1417901"/>
                </a:lnTo>
                <a:lnTo>
                  <a:pt x="438894" y="1362511"/>
                </a:lnTo>
                <a:lnTo>
                  <a:pt x="438894" y="1190793"/>
                </a:lnTo>
                <a:lnTo>
                  <a:pt x="486464" y="1190793"/>
                </a:lnTo>
                <a:lnTo>
                  <a:pt x="485737" y="1364525"/>
                </a:lnTo>
                <a:lnTo>
                  <a:pt x="521993" y="1417901"/>
                </a:lnTo>
                <a:lnTo>
                  <a:pt x="565298" y="1417901"/>
                </a:lnTo>
                <a:lnTo>
                  <a:pt x="605582" y="1362511"/>
                </a:lnTo>
                <a:lnTo>
                  <a:pt x="605582" y="1190793"/>
                </a:lnTo>
                <a:lnTo>
                  <a:pt x="658202" y="1190793"/>
                </a:lnTo>
                <a:lnTo>
                  <a:pt x="657475" y="1364525"/>
                </a:lnTo>
                <a:lnTo>
                  <a:pt x="693731" y="1417901"/>
                </a:lnTo>
                <a:lnTo>
                  <a:pt x="737036" y="1417901"/>
                </a:lnTo>
                <a:lnTo>
                  <a:pt x="777320" y="1362511"/>
                </a:lnTo>
                <a:lnTo>
                  <a:pt x="777320" y="1190793"/>
                </a:lnTo>
                <a:lnTo>
                  <a:pt x="811843" y="1190793"/>
                </a:lnTo>
                <a:lnTo>
                  <a:pt x="811843" y="1092914"/>
                </a:lnTo>
                <a:lnTo>
                  <a:pt x="126043" y="1092914"/>
                </a:lnTo>
                <a:lnTo>
                  <a:pt x="126043" y="1190793"/>
                </a:lnTo>
                <a:lnTo>
                  <a:pt x="157851" y="1190793"/>
                </a:lnTo>
                <a:lnTo>
                  <a:pt x="157124" y="1364525"/>
                </a:lnTo>
                <a:close/>
                <a:moveTo>
                  <a:pt x="715384" y="1461206"/>
                </a:moveTo>
                <a:lnTo>
                  <a:pt x="733542" y="1459289"/>
                </a:lnTo>
                <a:lnTo>
                  <a:pt x="739046" y="1457208"/>
                </a:lnTo>
                <a:lnTo>
                  <a:pt x="741065" y="1454659"/>
                </a:lnTo>
                <a:lnTo>
                  <a:pt x="741065" y="1428476"/>
                </a:lnTo>
                <a:lnTo>
                  <a:pt x="739046" y="1425927"/>
                </a:lnTo>
                <a:lnTo>
                  <a:pt x="733542" y="1423846"/>
                </a:lnTo>
                <a:cubicBezTo>
                  <a:pt x="728894" y="1422661"/>
                  <a:pt x="722474" y="1421929"/>
                  <a:pt x="715384" y="1421929"/>
                </a:cubicBezTo>
                <a:cubicBezTo>
                  <a:pt x="704748" y="1421929"/>
                  <a:pt x="695620" y="1423577"/>
                  <a:pt x="691721" y="1425927"/>
                </a:cubicBezTo>
                <a:cubicBezTo>
                  <a:pt x="690421" y="1426711"/>
                  <a:pt x="689703" y="1427572"/>
                  <a:pt x="689703" y="1428476"/>
                </a:cubicBezTo>
                <a:lnTo>
                  <a:pt x="689703" y="1454659"/>
                </a:lnTo>
                <a:cubicBezTo>
                  <a:pt x="689703" y="1456467"/>
                  <a:pt x="692578" y="1458104"/>
                  <a:pt x="697225" y="1459289"/>
                </a:cubicBezTo>
                <a:cubicBezTo>
                  <a:pt x="701873" y="1460473"/>
                  <a:pt x="708293" y="1461206"/>
                  <a:pt x="715384" y="1461206"/>
                </a:cubicBezTo>
                <a:close/>
                <a:moveTo>
                  <a:pt x="543646" y="1461206"/>
                </a:moveTo>
                <a:lnTo>
                  <a:pt x="561804" y="1459289"/>
                </a:lnTo>
                <a:lnTo>
                  <a:pt x="567308" y="1457208"/>
                </a:lnTo>
                <a:lnTo>
                  <a:pt x="569327" y="1454659"/>
                </a:lnTo>
                <a:lnTo>
                  <a:pt x="569327" y="1428476"/>
                </a:lnTo>
                <a:lnTo>
                  <a:pt x="567308" y="1425927"/>
                </a:lnTo>
                <a:lnTo>
                  <a:pt x="561804" y="1423846"/>
                </a:lnTo>
                <a:cubicBezTo>
                  <a:pt x="557156" y="1422661"/>
                  <a:pt x="550736" y="1421929"/>
                  <a:pt x="543646" y="1421929"/>
                </a:cubicBezTo>
                <a:cubicBezTo>
                  <a:pt x="533010" y="1421929"/>
                  <a:pt x="523882" y="1423577"/>
                  <a:pt x="519983" y="1425927"/>
                </a:cubicBezTo>
                <a:cubicBezTo>
                  <a:pt x="518683" y="1426711"/>
                  <a:pt x="517965" y="1427572"/>
                  <a:pt x="517965" y="1428476"/>
                </a:cubicBezTo>
                <a:lnTo>
                  <a:pt x="517965" y="1454659"/>
                </a:lnTo>
                <a:cubicBezTo>
                  <a:pt x="517965" y="1456467"/>
                  <a:pt x="520840" y="1458104"/>
                  <a:pt x="525487" y="1459289"/>
                </a:cubicBezTo>
                <a:cubicBezTo>
                  <a:pt x="530135" y="1460473"/>
                  <a:pt x="536555" y="1461206"/>
                  <a:pt x="543646" y="1461206"/>
                </a:cubicBezTo>
                <a:close/>
                <a:moveTo>
                  <a:pt x="376958" y="1461206"/>
                </a:moveTo>
                <a:lnTo>
                  <a:pt x="395116" y="1459289"/>
                </a:lnTo>
                <a:lnTo>
                  <a:pt x="400620" y="1457208"/>
                </a:lnTo>
                <a:lnTo>
                  <a:pt x="402639" y="1454659"/>
                </a:lnTo>
                <a:lnTo>
                  <a:pt x="402639" y="1428476"/>
                </a:lnTo>
                <a:lnTo>
                  <a:pt x="400620" y="1425927"/>
                </a:lnTo>
                <a:lnTo>
                  <a:pt x="395116" y="1423846"/>
                </a:lnTo>
                <a:cubicBezTo>
                  <a:pt x="390468" y="1422661"/>
                  <a:pt x="384048" y="1421929"/>
                  <a:pt x="376958" y="1421929"/>
                </a:cubicBezTo>
                <a:cubicBezTo>
                  <a:pt x="366322" y="1421929"/>
                  <a:pt x="357194" y="1423577"/>
                  <a:pt x="353295" y="1425927"/>
                </a:cubicBezTo>
                <a:cubicBezTo>
                  <a:pt x="351995" y="1426711"/>
                  <a:pt x="351277" y="1427572"/>
                  <a:pt x="351277" y="1428476"/>
                </a:cubicBezTo>
                <a:lnTo>
                  <a:pt x="351277" y="1454659"/>
                </a:lnTo>
                <a:cubicBezTo>
                  <a:pt x="351277" y="1456467"/>
                  <a:pt x="354152" y="1458104"/>
                  <a:pt x="358799" y="1459289"/>
                </a:cubicBezTo>
                <a:cubicBezTo>
                  <a:pt x="363447" y="1460473"/>
                  <a:pt x="369867" y="1461206"/>
                  <a:pt x="376958" y="1461206"/>
                </a:cubicBezTo>
                <a:close/>
                <a:moveTo>
                  <a:pt x="215033" y="1461206"/>
                </a:moveTo>
                <a:lnTo>
                  <a:pt x="233191" y="1459289"/>
                </a:lnTo>
                <a:lnTo>
                  <a:pt x="238695" y="1457208"/>
                </a:lnTo>
                <a:lnTo>
                  <a:pt x="240714" y="1454659"/>
                </a:lnTo>
                <a:lnTo>
                  <a:pt x="240714" y="1428476"/>
                </a:lnTo>
                <a:lnTo>
                  <a:pt x="238695" y="1425927"/>
                </a:lnTo>
                <a:lnTo>
                  <a:pt x="233191" y="1423846"/>
                </a:lnTo>
                <a:cubicBezTo>
                  <a:pt x="228543" y="1422661"/>
                  <a:pt x="222123" y="1421929"/>
                  <a:pt x="215033" y="1421929"/>
                </a:cubicBezTo>
                <a:cubicBezTo>
                  <a:pt x="204397" y="1421929"/>
                  <a:pt x="195269" y="1423577"/>
                  <a:pt x="191370" y="1425927"/>
                </a:cubicBezTo>
                <a:cubicBezTo>
                  <a:pt x="190070" y="1426711"/>
                  <a:pt x="189352" y="1427572"/>
                  <a:pt x="189352" y="1428476"/>
                </a:cubicBezTo>
                <a:lnTo>
                  <a:pt x="189352" y="1454659"/>
                </a:lnTo>
                <a:cubicBezTo>
                  <a:pt x="189352" y="1456467"/>
                  <a:pt x="192227" y="1458104"/>
                  <a:pt x="196874" y="1459289"/>
                </a:cubicBezTo>
                <a:cubicBezTo>
                  <a:pt x="201522" y="1460473"/>
                  <a:pt x="207942" y="1461206"/>
                  <a:pt x="215033" y="1461206"/>
                </a:cubicBezTo>
                <a:close/>
                <a:moveTo>
                  <a:pt x="486552" y="1531448"/>
                </a:moveTo>
                <a:cubicBezTo>
                  <a:pt x="486158" y="1531123"/>
                  <a:pt x="486146" y="1530770"/>
                  <a:pt x="486146" y="1530415"/>
                </a:cubicBezTo>
                <a:lnTo>
                  <a:pt x="486560" y="1529359"/>
                </a:lnTo>
                <a:close/>
                <a:moveTo>
                  <a:pt x="319858" y="1532686"/>
                </a:moveTo>
                <a:cubicBezTo>
                  <a:pt x="319027" y="1532018"/>
                  <a:pt x="318967" y="1531224"/>
                  <a:pt x="318967" y="1530415"/>
                </a:cubicBezTo>
                <a:lnTo>
                  <a:pt x="319878" y="1528094"/>
                </a:lnTo>
                <a:close/>
                <a:moveTo>
                  <a:pt x="157929" y="1533624"/>
                </a:moveTo>
                <a:cubicBezTo>
                  <a:pt x="156796" y="1532725"/>
                  <a:pt x="156670" y="1531585"/>
                  <a:pt x="156670" y="1530415"/>
                </a:cubicBezTo>
                <a:lnTo>
                  <a:pt x="157957" y="1527136"/>
                </a:lnTo>
                <a:close/>
                <a:moveTo>
                  <a:pt x="658276" y="1534776"/>
                </a:moveTo>
                <a:cubicBezTo>
                  <a:pt x="656808" y="1533616"/>
                  <a:pt x="656564" y="1532045"/>
                  <a:pt x="656564" y="1530415"/>
                </a:cubicBezTo>
                <a:lnTo>
                  <a:pt x="658313" y="1525960"/>
                </a:lnTo>
                <a:close/>
                <a:moveTo>
                  <a:pt x="1191766" y="1623750"/>
                </a:moveTo>
                <a:lnTo>
                  <a:pt x="1199790" y="1623750"/>
                </a:lnTo>
                <a:lnTo>
                  <a:pt x="1199790" y="1566817"/>
                </a:lnTo>
                <a:lnTo>
                  <a:pt x="1191766" y="1566817"/>
                </a:lnTo>
                <a:close/>
                <a:moveTo>
                  <a:pt x="1197062" y="1639589"/>
                </a:moveTo>
                <a:cubicBezTo>
                  <a:pt x="1172200" y="1639589"/>
                  <a:pt x="1152046" y="1619435"/>
                  <a:pt x="1152046" y="1594573"/>
                </a:cubicBezTo>
                <a:cubicBezTo>
                  <a:pt x="1152046" y="1569711"/>
                  <a:pt x="1172200" y="1549557"/>
                  <a:pt x="1197062" y="1549557"/>
                </a:cubicBezTo>
                <a:cubicBezTo>
                  <a:pt x="1221924" y="1549557"/>
                  <a:pt x="1242079" y="1569711"/>
                  <a:pt x="1242079" y="1594573"/>
                </a:cubicBezTo>
                <a:cubicBezTo>
                  <a:pt x="1242079" y="1619435"/>
                  <a:pt x="1221924" y="1639589"/>
                  <a:pt x="1197062" y="1639589"/>
                </a:cubicBezTo>
                <a:close/>
                <a:moveTo>
                  <a:pt x="193380" y="1779536"/>
                </a:moveTo>
                <a:lnTo>
                  <a:pt x="236685" y="1779536"/>
                </a:lnTo>
                <a:lnTo>
                  <a:pt x="276969" y="1724146"/>
                </a:lnTo>
                <a:lnTo>
                  <a:pt x="276969" y="1571626"/>
                </a:lnTo>
                <a:lnTo>
                  <a:pt x="319696" y="1571626"/>
                </a:lnTo>
                <a:lnTo>
                  <a:pt x="319049" y="1726160"/>
                </a:lnTo>
                <a:lnTo>
                  <a:pt x="355305" y="1779536"/>
                </a:lnTo>
                <a:lnTo>
                  <a:pt x="398610" y="1779536"/>
                </a:lnTo>
                <a:lnTo>
                  <a:pt x="438894" y="1724146"/>
                </a:lnTo>
                <a:lnTo>
                  <a:pt x="438894" y="1571626"/>
                </a:lnTo>
                <a:lnTo>
                  <a:pt x="486384" y="1571626"/>
                </a:lnTo>
                <a:lnTo>
                  <a:pt x="485737" y="1726160"/>
                </a:lnTo>
                <a:lnTo>
                  <a:pt x="521993" y="1779536"/>
                </a:lnTo>
                <a:lnTo>
                  <a:pt x="565298" y="1779536"/>
                </a:lnTo>
                <a:lnTo>
                  <a:pt x="605582" y="1724146"/>
                </a:lnTo>
                <a:lnTo>
                  <a:pt x="605582" y="1571626"/>
                </a:lnTo>
                <a:lnTo>
                  <a:pt x="658122" y="1571626"/>
                </a:lnTo>
                <a:lnTo>
                  <a:pt x="657475" y="1726160"/>
                </a:lnTo>
                <a:lnTo>
                  <a:pt x="693731" y="1779536"/>
                </a:lnTo>
                <a:lnTo>
                  <a:pt x="737036" y="1779536"/>
                </a:lnTo>
                <a:lnTo>
                  <a:pt x="777320" y="1724146"/>
                </a:lnTo>
                <a:lnTo>
                  <a:pt x="777320" y="1571626"/>
                </a:lnTo>
                <a:lnTo>
                  <a:pt x="807081" y="1571626"/>
                </a:lnTo>
                <a:lnTo>
                  <a:pt x="807081" y="1473747"/>
                </a:lnTo>
                <a:lnTo>
                  <a:pt x="121281" y="1473747"/>
                </a:lnTo>
                <a:lnTo>
                  <a:pt x="121281" y="1571626"/>
                </a:lnTo>
                <a:lnTo>
                  <a:pt x="157771" y="1571626"/>
                </a:lnTo>
                <a:lnTo>
                  <a:pt x="157124" y="1726160"/>
                </a:lnTo>
                <a:close/>
                <a:moveTo>
                  <a:pt x="715384" y="1822841"/>
                </a:moveTo>
                <a:lnTo>
                  <a:pt x="733542" y="1820924"/>
                </a:lnTo>
                <a:lnTo>
                  <a:pt x="739046" y="1818843"/>
                </a:lnTo>
                <a:lnTo>
                  <a:pt x="741065" y="1816294"/>
                </a:lnTo>
                <a:lnTo>
                  <a:pt x="741065" y="1790112"/>
                </a:lnTo>
                <a:lnTo>
                  <a:pt x="739046" y="1787563"/>
                </a:lnTo>
                <a:lnTo>
                  <a:pt x="733542" y="1785481"/>
                </a:lnTo>
                <a:cubicBezTo>
                  <a:pt x="728894" y="1784297"/>
                  <a:pt x="722474" y="1783564"/>
                  <a:pt x="715384" y="1783564"/>
                </a:cubicBezTo>
                <a:cubicBezTo>
                  <a:pt x="704748" y="1783564"/>
                  <a:pt x="695620" y="1785212"/>
                  <a:pt x="691721" y="1787563"/>
                </a:cubicBezTo>
                <a:cubicBezTo>
                  <a:pt x="690421" y="1788346"/>
                  <a:pt x="689703" y="1789207"/>
                  <a:pt x="689703" y="1790112"/>
                </a:cubicBezTo>
                <a:lnTo>
                  <a:pt x="689703" y="1816294"/>
                </a:lnTo>
                <a:cubicBezTo>
                  <a:pt x="689703" y="1818102"/>
                  <a:pt x="692578" y="1819739"/>
                  <a:pt x="697225" y="1820924"/>
                </a:cubicBezTo>
                <a:cubicBezTo>
                  <a:pt x="701873" y="1822109"/>
                  <a:pt x="708293" y="1822841"/>
                  <a:pt x="715384" y="1822841"/>
                </a:cubicBezTo>
                <a:close/>
                <a:moveTo>
                  <a:pt x="543646" y="1822841"/>
                </a:moveTo>
                <a:lnTo>
                  <a:pt x="561804" y="1820924"/>
                </a:lnTo>
                <a:lnTo>
                  <a:pt x="567308" y="1818843"/>
                </a:lnTo>
                <a:lnTo>
                  <a:pt x="569327" y="1816294"/>
                </a:lnTo>
                <a:lnTo>
                  <a:pt x="569327" y="1790112"/>
                </a:lnTo>
                <a:lnTo>
                  <a:pt x="567308" y="1787563"/>
                </a:lnTo>
                <a:lnTo>
                  <a:pt x="561804" y="1785481"/>
                </a:lnTo>
                <a:cubicBezTo>
                  <a:pt x="557156" y="1784297"/>
                  <a:pt x="550736" y="1783564"/>
                  <a:pt x="543646" y="1783564"/>
                </a:cubicBezTo>
                <a:cubicBezTo>
                  <a:pt x="533010" y="1783564"/>
                  <a:pt x="523882" y="1785212"/>
                  <a:pt x="519983" y="1787563"/>
                </a:cubicBezTo>
                <a:cubicBezTo>
                  <a:pt x="518683" y="1788346"/>
                  <a:pt x="517965" y="1789207"/>
                  <a:pt x="517965" y="1790112"/>
                </a:cubicBezTo>
                <a:lnTo>
                  <a:pt x="517965" y="1816294"/>
                </a:lnTo>
                <a:cubicBezTo>
                  <a:pt x="517965" y="1818102"/>
                  <a:pt x="520840" y="1819739"/>
                  <a:pt x="525487" y="1820924"/>
                </a:cubicBezTo>
                <a:cubicBezTo>
                  <a:pt x="530135" y="1822109"/>
                  <a:pt x="536555" y="1822841"/>
                  <a:pt x="543646" y="1822841"/>
                </a:cubicBezTo>
                <a:close/>
                <a:moveTo>
                  <a:pt x="376958" y="1822841"/>
                </a:moveTo>
                <a:lnTo>
                  <a:pt x="395116" y="1820924"/>
                </a:lnTo>
                <a:lnTo>
                  <a:pt x="400620" y="1818843"/>
                </a:lnTo>
                <a:lnTo>
                  <a:pt x="402639" y="1816294"/>
                </a:lnTo>
                <a:lnTo>
                  <a:pt x="402639" y="1790112"/>
                </a:lnTo>
                <a:lnTo>
                  <a:pt x="400620" y="1787563"/>
                </a:lnTo>
                <a:lnTo>
                  <a:pt x="395116" y="1785481"/>
                </a:lnTo>
                <a:cubicBezTo>
                  <a:pt x="390468" y="1784297"/>
                  <a:pt x="384048" y="1783564"/>
                  <a:pt x="376958" y="1783564"/>
                </a:cubicBezTo>
                <a:cubicBezTo>
                  <a:pt x="366322" y="1783564"/>
                  <a:pt x="357194" y="1785212"/>
                  <a:pt x="353295" y="1787563"/>
                </a:cubicBezTo>
                <a:cubicBezTo>
                  <a:pt x="351995" y="1788346"/>
                  <a:pt x="351277" y="1789207"/>
                  <a:pt x="351277" y="1790112"/>
                </a:cubicBezTo>
                <a:lnTo>
                  <a:pt x="351277" y="1816294"/>
                </a:lnTo>
                <a:cubicBezTo>
                  <a:pt x="351277" y="1818102"/>
                  <a:pt x="354152" y="1819739"/>
                  <a:pt x="358799" y="1820924"/>
                </a:cubicBezTo>
                <a:cubicBezTo>
                  <a:pt x="363447" y="1822109"/>
                  <a:pt x="369867" y="1822841"/>
                  <a:pt x="376958" y="1822841"/>
                </a:cubicBezTo>
                <a:close/>
                <a:moveTo>
                  <a:pt x="215033" y="1822841"/>
                </a:moveTo>
                <a:lnTo>
                  <a:pt x="233191" y="1820924"/>
                </a:lnTo>
                <a:lnTo>
                  <a:pt x="238695" y="1818843"/>
                </a:lnTo>
                <a:lnTo>
                  <a:pt x="240714" y="1816294"/>
                </a:lnTo>
                <a:lnTo>
                  <a:pt x="240714" y="1790112"/>
                </a:lnTo>
                <a:lnTo>
                  <a:pt x="238695" y="1787563"/>
                </a:lnTo>
                <a:lnTo>
                  <a:pt x="233191" y="1785481"/>
                </a:lnTo>
                <a:cubicBezTo>
                  <a:pt x="228543" y="1784297"/>
                  <a:pt x="222123" y="1783564"/>
                  <a:pt x="215033" y="1783564"/>
                </a:cubicBezTo>
                <a:cubicBezTo>
                  <a:pt x="204397" y="1783564"/>
                  <a:pt x="195269" y="1785212"/>
                  <a:pt x="191370" y="1787563"/>
                </a:cubicBezTo>
                <a:cubicBezTo>
                  <a:pt x="190070" y="1788346"/>
                  <a:pt x="189352" y="1789207"/>
                  <a:pt x="189352" y="1790112"/>
                </a:cubicBezTo>
                <a:lnTo>
                  <a:pt x="189352" y="1816294"/>
                </a:lnTo>
                <a:cubicBezTo>
                  <a:pt x="189352" y="1818102"/>
                  <a:pt x="192227" y="1819739"/>
                  <a:pt x="196874" y="1820924"/>
                </a:cubicBezTo>
                <a:cubicBezTo>
                  <a:pt x="201522" y="1822109"/>
                  <a:pt x="207942" y="1822841"/>
                  <a:pt x="215033" y="1822841"/>
                </a:cubicBezTo>
                <a:close/>
                <a:moveTo>
                  <a:pt x="986109" y="1830956"/>
                </a:moveTo>
                <a:lnTo>
                  <a:pt x="986109" y="1782631"/>
                </a:lnTo>
                <a:lnTo>
                  <a:pt x="1102789" y="1782631"/>
                </a:lnTo>
                <a:lnTo>
                  <a:pt x="1102789" y="1830956"/>
                </a:lnTo>
                <a:close/>
                <a:moveTo>
                  <a:pt x="486503" y="1896847"/>
                </a:moveTo>
                <a:cubicBezTo>
                  <a:pt x="486155" y="1896558"/>
                  <a:pt x="486146" y="1896249"/>
                  <a:pt x="486146" y="1895937"/>
                </a:cubicBezTo>
                <a:lnTo>
                  <a:pt x="486511" y="1895007"/>
                </a:lnTo>
                <a:close/>
                <a:moveTo>
                  <a:pt x="319810" y="1898084"/>
                </a:moveTo>
                <a:cubicBezTo>
                  <a:pt x="319020" y="1897449"/>
                  <a:pt x="318967" y="1896699"/>
                  <a:pt x="318967" y="1895937"/>
                </a:cubicBezTo>
                <a:lnTo>
                  <a:pt x="319828" y="1893743"/>
                </a:lnTo>
                <a:close/>
                <a:moveTo>
                  <a:pt x="157881" y="1899022"/>
                </a:moveTo>
                <a:cubicBezTo>
                  <a:pt x="156786" y="1898152"/>
                  <a:pt x="156670" y="1897059"/>
                  <a:pt x="156670" y="1895937"/>
                </a:cubicBezTo>
                <a:lnTo>
                  <a:pt x="157907" y="1892784"/>
                </a:lnTo>
                <a:close/>
                <a:moveTo>
                  <a:pt x="658227" y="1900174"/>
                </a:moveTo>
                <a:cubicBezTo>
                  <a:pt x="656794" y="1899041"/>
                  <a:pt x="656564" y="1897517"/>
                  <a:pt x="656564" y="1895937"/>
                </a:cubicBezTo>
                <a:lnTo>
                  <a:pt x="658263" y="1891608"/>
                </a:lnTo>
                <a:close/>
                <a:moveTo>
                  <a:pt x="967231" y="1907087"/>
                </a:moveTo>
                <a:lnTo>
                  <a:pt x="1121668" y="1907087"/>
                </a:lnTo>
                <a:cubicBezTo>
                  <a:pt x="1127283" y="1907087"/>
                  <a:pt x="1131834" y="1902535"/>
                  <a:pt x="1131834" y="1896920"/>
                </a:cubicBezTo>
                <a:lnTo>
                  <a:pt x="1131834" y="1764992"/>
                </a:lnTo>
                <a:cubicBezTo>
                  <a:pt x="1131834" y="1759378"/>
                  <a:pt x="1127283" y="1754826"/>
                  <a:pt x="1121668" y="1754826"/>
                </a:cubicBezTo>
                <a:lnTo>
                  <a:pt x="967231" y="1754826"/>
                </a:lnTo>
                <a:cubicBezTo>
                  <a:pt x="961616" y="1754826"/>
                  <a:pt x="957065" y="1759378"/>
                  <a:pt x="957065" y="1764992"/>
                </a:cubicBezTo>
                <a:lnTo>
                  <a:pt x="957065" y="1896920"/>
                </a:lnTo>
                <a:cubicBezTo>
                  <a:pt x="957065" y="1902535"/>
                  <a:pt x="961616" y="1907087"/>
                  <a:pt x="967231" y="1907087"/>
                </a:cubicBezTo>
                <a:close/>
                <a:moveTo>
                  <a:pt x="970657" y="1920328"/>
                </a:moveTo>
                <a:cubicBezTo>
                  <a:pt x="954570" y="1920328"/>
                  <a:pt x="941528" y="1907287"/>
                  <a:pt x="941528" y="1891200"/>
                </a:cubicBezTo>
                <a:lnTo>
                  <a:pt x="941528" y="1774688"/>
                </a:lnTo>
                <a:cubicBezTo>
                  <a:pt x="941528" y="1758600"/>
                  <a:pt x="954570" y="1745559"/>
                  <a:pt x="970657" y="1745559"/>
                </a:cubicBezTo>
                <a:lnTo>
                  <a:pt x="1114973" y="1745559"/>
                </a:lnTo>
                <a:cubicBezTo>
                  <a:pt x="1131061" y="1745559"/>
                  <a:pt x="1144102" y="1758600"/>
                  <a:pt x="1144102" y="1774688"/>
                </a:cubicBezTo>
                <a:lnTo>
                  <a:pt x="1144102" y="1891200"/>
                </a:lnTo>
                <a:cubicBezTo>
                  <a:pt x="1144102" y="1907287"/>
                  <a:pt x="1131061" y="1920328"/>
                  <a:pt x="1114973" y="1920328"/>
                </a:cubicBezTo>
                <a:close/>
                <a:moveTo>
                  <a:pt x="1109480" y="1998069"/>
                </a:moveTo>
                <a:cubicBezTo>
                  <a:pt x="1115019" y="1998069"/>
                  <a:pt x="1119510" y="1993578"/>
                  <a:pt x="1119510" y="1988039"/>
                </a:cubicBezTo>
                <a:cubicBezTo>
                  <a:pt x="1119510" y="1982500"/>
                  <a:pt x="1115019" y="1978010"/>
                  <a:pt x="1109480" y="1978010"/>
                </a:cubicBezTo>
                <a:cubicBezTo>
                  <a:pt x="1103941" y="1978010"/>
                  <a:pt x="1099451" y="1982500"/>
                  <a:pt x="1099451" y="1988039"/>
                </a:cubicBezTo>
                <a:cubicBezTo>
                  <a:pt x="1099451" y="1993578"/>
                  <a:pt x="1103941" y="1998069"/>
                  <a:pt x="1109480" y="1998069"/>
                </a:cubicBezTo>
                <a:close/>
                <a:moveTo>
                  <a:pt x="1064099" y="1998069"/>
                </a:moveTo>
                <a:cubicBezTo>
                  <a:pt x="1069638" y="1998069"/>
                  <a:pt x="1074128" y="1993578"/>
                  <a:pt x="1074128" y="1988039"/>
                </a:cubicBezTo>
                <a:cubicBezTo>
                  <a:pt x="1074128" y="1982500"/>
                  <a:pt x="1069638" y="1978010"/>
                  <a:pt x="1064099" y="1978010"/>
                </a:cubicBezTo>
                <a:cubicBezTo>
                  <a:pt x="1058560" y="1978010"/>
                  <a:pt x="1054069" y="1982500"/>
                  <a:pt x="1054069" y="1988039"/>
                </a:cubicBezTo>
                <a:cubicBezTo>
                  <a:pt x="1054069" y="1993578"/>
                  <a:pt x="1058560" y="1998069"/>
                  <a:pt x="1064099" y="1998069"/>
                </a:cubicBezTo>
                <a:close/>
                <a:moveTo>
                  <a:pt x="1015110" y="1998069"/>
                </a:moveTo>
                <a:cubicBezTo>
                  <a:pt x="1020649" y="1998069"/>
                  <a:pt x="1025139" y="1993578"/>
                  <a:pt x="1025139" y="1988039"/>
                </a:cubicBezTo>
                <a:cubicBezTo>
                  <a:pt x="1025139" y="1982500"/>
                  <a:pt x="1020649" y="1978010"/>
                  <a:pt x="1015110" y="1978010"/>
                </a:cubicBezTo>
                <a:cubicBezTo>
                  <a:pt x="1009571" y="1978010"/>
                  <a:pt x="1005081" y="1982500"/>
                  <a:pt x="1005081" y="1988039"/>
                </a:cubicBezTo>
                <a:cubicBezTo>
                  <a:pt x="1005081" y="1993578"/>
                  <a:pt x="1009571" y="1998069"/>
                  <a:pt x="1015110" y="1998069"/>
                </a:cubicBezTo>
                <a:close/>
                <a:moveTo>
                  <a:pt x="972742" y="1998069"/>
                </a:moveTo>
                <a:cubicBezTo>
                  <a:pt x="978281" y="1998069"/>
                  <a:pt x="982771" y="1993578"/>
                  <a:pt x="982771" y="1988039"/>
                </a:cubicBezTo>
                <a:cubicBezTo>
                  <a:pt x="982771" y="1982500"/>
                  <a:pt x="978281" y="1978010"/>
                  <a:pt x="972742" y="1978010"/>
                </a:cubicBezTo>
                <a:cubicBezTo>
                  <a:pt x="967203" y="1978010"/>
                  <a:pt x="962712" y="1982500"/>
                  <a:pt x="962712" y="1988039"/>
                </a:cubicBezTo>
                <a:cubicBezTo>
                  <a:pt x="962712" y="1993578"/>
                  <a:pt x="967203" y="1998069"/>
                  <a:pt x="972742" y="1998069"/>
                </a:cubicBezTo>
                <a:close/>
                <a:moveTo>
                  <a:pt x="954327" y="2039489"/>
                </a:moveTo>
                <a:cubicBezTo>
                  <a:pt x="947259" y="2039489"/>
                  <a:pt x="941528" y="2033759"/>
                  <a:pt x="941528" y="2026690"/>
                </a:cubicBezTo>
                <a:lnTo>
                  <a:pt x="941528" y="1975495"/>
                </a:lnTo>
                <a:cubicBezTo>
                  <a:pt x="941528" y="1968426"/>
                  <a:pt x="947259" y="1962696"/>
                  <a:pt x="954327" y="1962696"/>
                </a:cubicBezTo>
                <a:lnTo>
                  <a:pt x="1131303" y="1962696"/>
                </a:lnTo>
                <a:cubicBezTo>
                  <a:pt x="1138372" y="1962696"/>
                  <a:pt x="1144102" y="1968426"/>
                  <a:pt x="1144102" y="1975495"/>
                </a:cubicBezTo>
                <a:lnTo>
                  <a:pt x="1144102" y="2026690"/>
                </a:lnTo>
                <a:cubicBezTo>
                  <a:pt x="1144102" y="2033759"/>
                  <a:pt x="1138372" y="2039489"/>
                  <a:pt x="1131303" y="2039489"/>
                </a:cubicBezTo>
                <a:close/>
                <a:moveTo>
                  <a:pt x="921012" y="2072589"/>
                </a:moveTo>
                <a:lnTo>
                  <a:pt x="1276369" y="2072589"/>
                </a:lnTo>
                <a:cubicBezTo>
                  <a:pt x="1285949" y="2072589"/>
                  <a:pt x="1293715" y="2064823"/>
                  <a:pt x="1293715" y="2055243"/>
                </a:cubicBezTo>
                <a:lnTo>
                  <a:pt x="1293715" y="1533850"/>
                </a:lnTo>
                <a:cubicBezTo>
                  <a:pt x="1293715" y="1524271"/>
                  <a:pt x="1285949" y="1516505"/>
                  <a:pt x="1276369" y="1516505"/>
                </a:cubicBezTo>
                <a:lnTo>
                  <a:pt x="921012" y="1516505"/>
                </a:lnTo>
                <a:cubicBezTo>
                  <a:pt x="911432" y="1516505"/>
                  <a:pt x="903666" y="1524271"/>
                  <a:pt x="903666" y="1533850"/>
                </a:cubicBezTo>
                <a:lnTo>
                  <a:pt x="903666" y="2055243"/>
                </a:lnTo>
                <a:cubicBezTo>
                  <a:pt x="903666" y="2064823"/>
                  <a:pt x="911432" y="2072589"/>
                  <a:pt x="921012" y="2072589"/>
                </a:cubicBezTo>
                <a:close/>
                <a:moveTo>
                  <a:pt x="902336" y="2084495"/>
                </a:moveTo>
                <a:cubicBezTo>
                  <a:pt x="893786" y="2084495"/>
                  <a:pt x="886855" y="2077564"/>
                  <a:pt x="886855" y="2069014"/>
                </a:cubicBezTo>
                <a:lnTo>
                  <a:pt x="886855" y="1516570"/>
                </a:lnTo>
                <a:cubicBezTo>
                  <a:pt x="886855" y="1508020"/>
                  <a:pt x="893786" y="1501089"/>
                  <a:pt x="902336" y="1501089"/>
                </a:cubicBezTo>
                <a:lnTo>
                  <a:pt x="1292855" y="1501089"/>
                </a:lnTo>
                <a:cubicBezTo>
                  <a:pt x="1301405" y="1501089"/>
                  <a:pt x="1308336" y="1508020"/>
                  <a:pt x="1308336" y="1516570"/>
                </a:cubicBezTo>
                <a:lnTo>
                  <a:pt x="1308336" y="2069014"/>
                </a:lnTo>
                <a:cubicBezTo>
                  <a:pt x="1308336" y="2077564"/>
                  <a:pt x="1301405" y="2084495"/>
                  <a:pt x="1292855" y="2084495"/>
                </a:cubicBezTo>
                <a:close/>
                <a:moveTo>
                  <a:pt x="193380" y="2133342"/>
                </a:moveTo>
                <a:lnTo>
                  <a:pt x="236685" y="2133342"/>
                </a:lnTo>
                <a:lnTo>
                  <a:pt x="276969" y="2077952"/>
                </a:lnTo>
                <a:lnTo>
                  <a:pt x="276969" y="1937148"/>
                </a:lnTo>
                <a:lnTo>
                  <a:pt x="319647" y="1937148"/>
                </a:lnTo>
                <a:lnTo>
                  <a:pt x="319049" y="2079966"/>
                </a:lnTo>
                <a:lnTo>
                  <a:pt x="355305" y="2133342"/>
                </a:lnTo>
                <a:lnTo>
                  <a:pt x="398610" y="2133342"/>
                </a:lnTo>
                <a:lnTo>
                  <a:pt x="438894" y="2077952"/>
                </a:lnTo>
                <a:lnTo>
                  <a:pt x="438894" y="1937148"/>
                </a:lnTo>
                <a:lnTo>
                  <a:pt x="486335" y="1937148"/>
                </a:lnTo>
                <a:lnTo>
                  <a:pt x="485737" y="2079966"/>
                </a:lnTo>
                <a:lnTo>
                  <a:pt x="521993" y="2133342"/>
                </a:lnTo>
                <a:lnTo>
                  <a:pt x="565298" y="2133342"/>
                </a:lnTo>
                <a:lnTo>
                  <a:pt x="605582" y="2077952"/>
                </a:lnTo>
                <a:lnTo>
                  <a:pt x="605582" y="1937148"/>
                </a:lnTo>
                <a:lnTo>
                  <a:pt x="658072" y="1937148"/>
                </a:lnTo>
                <a:lnTo>
                  <a:pt x="657475" y="2079966"/>
                </a:lnTo>
                <a:lnTo>
                  <a:pt x="693731" y="2133342"/>
                </a:lnTo>
                <a:lnTo>
                  <a:pt x="737036" y="2133342"/>
                </a:lnTo>
                <a:lnTo>
                  <a:pt x="777320" y="2077952"/>
                </a:lnTo>
                <a:lnTo>
                  <a:pt x="777320" y="1937148"/>
                </a:lnTo>
                <a:lnTo>
                  <a:pt x="807081" y="1937148"/>
                </a:lnTo>
                <a:lnTo>
                  <a:pt x="807081" y="1839269"/>
                </a:lnTo>
                <a:lnTo>
                  <a:pt x="777320" y="1839269"/>
                </a:lnTo>
                <a:lnTo>
                  <a:pt x="658482" y="1839269"/>
                </a:lnTo>
                <a:lnTo>
                  <a:pt x="605582" y="1839269"/>
                </a:lnTo>
                <a:lnTo>
                  <a:pt x="486744" y="1839269"/>
                </a:lnTo>
                <a:lnTo>
                  <a:pt x="438894" y="1839269"/>
                </a:lnTo>
                <a:lnTo>
                  <a:pt x="320056" y="1839269"/>
                </a:lnTo>
                <a:lnTo>
                  <a:pt x="276969" y="1839269"/>
                </a:lnTo>
                <a:lnTo>
                  <a:pt x="158131" y="1839269"/>
                </a:lnTo>
                <a:lnTo>
                  <a:pt x="121281" y="1839269"/>
                </a:lnTo>
                <a:lnTo>
                  <a:pt x="121281" y="1937148"/>
                </a:lnTo>
                <a:lnTo>
                  <a:pt x="157721" y="1937148"/>
                </a:lnTo>
                <a:lnTo>
                  <a:pt x="157124" y="2079966"/>
                </a:lnTo>
                <a:close/>
                <a:moveTo>
                  <a:pt x="715384" y="2176647"/>
                </a:moveTo>
                <a:lnTo>
                  <a:pt x="733542" y="2174730"/>
                </a:lnTo>
                <a:lnTo>
                  <a:pt x="739046" y="2172649"/>
                </a:lnTo>
                <a:lnTo>
                  <a:pt x="741065" y="2170100"/>
                </a:lnTo>
                <a:lnTo>
                  <a:pt x="741065" y="2143918"/>
                </a:lnTo>
                <a:lnTo>
                  <a:pt x="739046" y="2141369"/>
                </a:lnTo>
                <a:lnTo>
                  <a:pt x="733542" y="2139287"/>
                </a:lnTo>
                <a:cubicBezTo>
                  <a:pt x="728894" y="2138103"/>
                  <a:pt x="722474" y="2137370"/>
                  <a:pt x="715384" y="2137370"/>
                </a:cubicBezTo>
                <a:cubicBezTo>
                  <a:pt x="704748" y="2137370"/>
                  <a:pt x="695620" y="2139018"/>
                  <a:pt x="691721" y="2141369"/>
                </a:cubicBezTo>
                <a:cubicBezTo>
                  <a:pt x="690421" y="2142152"/>
                  <a:pt x="689703" y="2143013"/>
                  <a:pt x="689703" y="2143918"/>
                </a:cubicBezTo>
                <a:lnTo>
                  <a:pt x="689703" y="2170100"/>
                </a:lnTo>
                <a:cubicBezTo>
                  <a:pt x="689703" y="2171908"/>
                  <a:pt x="692578" y="2173545"/>
                  <a:pt x="697225" y="2174730"/>
                </a:cubicBezTo>
                <a:cubicBezTo>
                  <a:pt x="701873" y="2175915"/>
                  <a:pt x="708293" y="2176647"/>
                  <a:pt x="715384" y="2176647"/>
                </a:cubicBezTo>
                <a:close/>
                <a:moveTo>
                  <a:pt x="543646" y="2176647"/>
                </a:moveTo>
                <a:lnTo>
                  <a:pt x="561804" y="2174730"/>
                </a:lnTo>
                <a:lnTo>
                  <a:pt x="567308" y="2172649"/>
                </a:lnTo>
                <a:lnTo>
                  <a:pt x="569327" y="2170100"/>
                </a:lnTo>
                <a:lnTo>
                  <a:pt x="569327" y="2143918"/>
                </a:lnTo>
                <a:lnTo>
                  <a:pt x="567308" y="2141369"/>
                </a:lnTo>
                <a:lnTo>
                  <a:pt x="561804" y="2139287"/>
                </a:lnTo>
                <a:cubicBezTo>
                  <a:pt x="557156" y="2138103"/>
                  <a:pt x="550736" y="2137370"/>
                  <a:pt x="543646" y="2137370"/>
                </a:cubicBezTo>
                <a:cubicBezTo>
                  <a:pt x="533010" y="2137370"/>
                  <a:pt x="523882" y="2139018"/>
                  <a:pt x="519983" y="2141369"/>
                </a:cubicBezTo>
                <a:cubicBezTo>
                  <a:pt x="518683" y="2142152"/>
                  <a:pt x="517965" y="2143013"/>
                  <a:pt x="517965" y="2143918"/>
                </a:cubicBezTo>
                <a:lnTo>
                  <a:pt x="517965" y="2170100"/>
                </a:lnTo>
                <a:cubicBezTo>
                  <a:pt x="517965" y="2171908"/>
                  <a:pt x="520840" y="2173545"/>
                  <a:pt x="525487" y="2174730"/>
                </a:cubicBezTo>
                <a:cubicBezTo>
                  <a:pt x="530135" y="2175915"/>
                  <a:pt x="536555" y="2176647"/>
                  <a:pt x="543646" y="2176647"/>
                </a:cubicBezTo>
                <a:close/>
                <a:moveTo>
                  <a:pt x="376958" y="2176647"/>
                </a:moveTo>
                <a:lnTo>
                  <a:pt x="395116" y="2174730"/>
                </a:lnTo>
                <a:lnTo>
                  <a:pt x="400620" y="2172649"/>
                </a:lnTo>
                <a:lnTo>
                  <a:pt x="402639" y="2170100"/>
                </a:lnTo>
                <a:lnTo>
                  <a:pt x="402639" y="2143918"/>
                </a:lnTo>
                <a:lnTo>
                  <a:pt x="400620" y="2141369"/>
                </a:lnTo>
                <a:lnTo>
                  <a:pt x="395116" y="2139287"/>
                </a:lnTo>
                <a:cubicBezTo>
                  <a:pt x="390468" y="2138103"/>
                  <a:pt x="384048" y="2137370"/>
                  <a:pt x="376958" y="2137370"/>
                </a:cubicBezTo>
                <a:cubicBezTo>
                  <a:pt x="366322" y="2137370"/>
                  <a:pt x="357194" y="2139018"/>
                  <a:pt x="353295" y="2141369"/>
                </a:cubicBezTo>
                <a:cubicBezTo>
                  <a:pt x="351995" y="2142152"/>
                  <a:pt x="351277" y="2143013"/>
                  <a:pt x="351277" y="2143918"/>
                </a:cubicBezTo>
                <a:lnTo>
                  <a:pt x="351277" y="2170100"/>
                </a:lnTo>
                <a:cubicBezTo>
                  <a:pt x="351277" y="2171908"/>
                  <a:pt x="354152" y="2173545"/>
                  <a:pt x="358799" y="2174730"/>
                </a:cubicBezTo>
                <a:cubicBezTo>
                  <a:pt x="363447" y="2175915"/>
                  <a:pt x="369867" y="2176647"/>
                  <a:pt x="376958" y="2176647"/>
                </a:cubicBezTo>
                <a:close/>
                <a:moveTo>
                  <a:pt x="215033" y="2176647"/>
                </a:moveTo>
                <a:lnTo>
                  <a:pt x="233191" y="2174730"/>
                </a:lnTo>
                <a:lnTo>
                  <a:pt x="238695" y="2172649"/>
                </a:lnTo>
                <a:lnTo>
                  <a:pt x="240714" y="2170100"/>
                </a:lnTo>
                <a:lnTo>
                  <a:pt x="240714" y="2143918"/>
                </a:lnTo>
                <a:lnTo>
                  <a:pt x="238695" y="2141369"/>
                </a:lnTo>
                <a:lnTo>
                  <a:pt x="233191" y="2139287"/>
                </a:lnTo>
                <a:cubicBezTo>
                  <a:pt x="228543" y="2138103"/>
                  <a:pt x="222123" y="2137370"/>
                  <a:pt x="215033" y="2137370"/>
                </a:cubicBezTo>
                <a:cubicBezTo>
                  <a:pt x="204397" y="2137370"/>
                  <a:pt x="195269" y="2139018"/>
                  <a:pt x="191370" y="2141369"/>
                </a:cubicBezTo>
                <a:cubicBezTo>
                  <a:pt x="190070" y="2142152"/>
                  <a:pt x="189352" y="2143013"/>
                  <a:pt x="189352" y="2143918"/>
                </a:cubicBezTo>
                <a:lnTo>
                  <a:pt x="189352" y="2170100"/>
                </a:lnTo>
                <a:cubicBezTo>
                  <a:pt x="189352" y="2171908"/>
                  <a:pt x="192227" y="2173545"/>
                  <a:pt x="196874" y="2174730"/>
                </a:cubicBezTo>
                <a:cubicBezTo>
                  <a:pt x="201522" y="2175915"/>
                  <a:pt x="207942" y="2176647"/>
                  <a:pt x="215033" y="2176647"/>
                </a:cubicBezTo>
                <a:close/>
                <a:moveTo>
                  <a:pt x="193380" y="2523867"/>
                </a:moveTo>
                <a:lnTo>
                  <a:pt x="236685" y="2523867"/>
                </a:lnTo>
                <a:lnTo>
                  <a:pt x="276969" y="2468477"/>
                </a:lnTo>
                <a:lnTo>
                  <a:pt x="276969" y="2311314"/>
                </a:lnTo>
                <a:lnTo>
                  <a:pt x="319938" y="2311314"/>
                </a:lnTo>
                <a:lnTo>
                  <a:pt x="319272" y="2470491"/>
                </a:lnTo>
                <a:lnTo>
                  <a:pt x="355528" y="2523867"/>
                </a:lnTo>
                <a:lnTo>
                  <a:pt x="398833" y="2523867"/>
                </a:lnTo>
                <a:lnTo>
                  <a:pt x="439117" y="2468477"/>
                </a:lnTo>
                <a:lnTo>
                  <a:pt x="439117" y="2311314"/>
                </a:lnTo>
                <a:lnTo>
                  <a:pt x="482085" y="2311314"/>
                </a:lnTo>
                <a:lnTo>
                  <a:pt x="481419" y="2470491"/>
                </a:lnTo>
                <a:lnTo>
                  <a:pt x="517675" y="2523867"/>
                </a:lnTo>
                <a:lnTo>
                  <a:pt x="560980" y="2523867"/>
                </a:lnTo>
                <a:lnTo>
                  <a:pt x="601264" y="2468477"/>
                </a:lnTo>
                <a:lnTo>
                  <a:pt x="601264" y="2311314"/>
                </a:lnTo>
                <a:lnTo>
                  <a:pt x="644232" y="2311314"/>
                </a:lnTo>
                <a:lnTo>
                  <a:pt x="643566" y="2470491"/>
                </a:lnTo>
                <a:lnTo>
                  <a:pt x="679822" y="2523867"/>
                </a:lnTo>
                <a:lnTo>
                  <a:pt x="723127" y="2523867"/>
                </a:lnTo>
                <a:lnTo>
                  <a:pt x="763411" y="2468477"/>
                </a:lnTo>
                <a:lnTo>
                  <a:pt x="763411" y="2311314"/>
                </a:lnTo>
                <a:lnTo>
                  <a:pt x="806379" y="2311314"/>
                </a:lnTo>
                <a:lnTo>
                  <a:pt x="805713" y="2470491"/>
                </a:lnTo>
                <a:lnTo>
                  <a:pt x="841969" y="2523867"/>
                </a:lnTo>
                <a:lnTo>
                  <a:pt x="885274" y="2523867"/>
                </a:lnTo>
                <a:lnTo>
                  <a:pt x="925558" y="2468477"/>
                </a:lnTo>
                <a:lnTo>
                  <a:pt x="925558" y="2311314"/>
                </a:lnTo>
                <a:lnTo>
                  <a:pt x="968527" y="2311314"/>
                </a:lnTo>
                <a:lnTo>
                  <a:pt x="967861" y="2470491"/>
                </a:lnTo>
                <a:lnTo>
                  <a:pt x="1004117" y="2523867"/>
                </a:lnTo>
                <a:lnTo>
                  <a:pt x="1047422" y="2523867"/>
                </a:lnTo>
                <a:lnTo>
                  <a:pt x="1087706" y="2468477"/>
                </a:lnTo>
                <a:lnTo>
                  <a:pt x="1087706" y="2311314"/>
                </a:lnTo>
                <a:lnTo>
                  <a:pt x="1130675" y="2311314"/>
                </a:lnTo>
                <a:lnTo>
                  <a:pt x="1130009" y="2470491"/>
                </a:lnTo>
                <a:lnTo>
                  <a:pt x="1166265" y="2523867"/>
                </a:lnTo>
                <a:lnTo>
                  <a:pt x="1209570" y="2523867"/>
                </a:lnTo>
                <a:lnTo>
                  <a:pt x="1249854" y="2468477"/>
                </a:lnTo>
                <a:lnTo>
                  <a:pt x="1249854" y="2311314"/>
                </a:lnTo>
                <a:lnTo>
                  <a:pt x="1273424" y="2311314"/>
                </a:lnTo>
                <a:lnTo>
                  <a:pt x="1273424" y="2229586"/>
                </a:lnTo>
                <a:lnTo>
                  <a:pt x="121280" y="2229586"/>
                </a:lnTo>
                <a:lnTo>
                  <a:pt x="121280" y="2311314"/>
                </a:lnTo>
                <a:lnTo>
                  <a:pt x="157790" y="2311314"/>
                </a:lnTo>
                <a:lnTo>
                  <a:pt x="157124" y="2470491"/>
                </a:lnTo>
                <a:close/>
                <a:moveTo>
                  <a:pt x="1187918" y="2567172"/>
                </a:moveTo>
                <a:lnTo>
                  <a:pt x="1206076" y="2565255"/>
                </a:lnTo>
                <a:lnTo>
                  <a:pt x="1211580" y="2563174"/>
                </a:lnTo>
                <a:lnTo>
                  <a:pt x="1213599" y="2560625"/>
                </a:lnTo>
                <a:lnTo>
                  <a:pt x="1213599" y="2534442"/>
                </a:lnTo>
                <a:lnTo>
                  <a:pt x="1211580" y="2531893"/>
                </a:lnTo>
                <a:lnTo>
                  <a:pt x="1206076" y="2529812"/>
                </a:lnTo>
                <a:cubicBezTo>
                  <a:pt x="1201428" y="2528628"/>
                  <a:pt x="1195008" y="2527895"/>
                  <a:pt x="1187918" y="2527895"/>
                </a:cubicBezTo>
                <a:cubicBezTo>
                  <a:pt x="1177282" y="2527895"/>
                  <a:pt x="1168154" y="2529543"/>
                  <a:pt x="1164255" y="2531893"/>
                </a:cubicBezTo>
                <a:cubicBezTo>
                  <a:pt x="1162955" y="2532677"/>
                  <a:pt x="1162237" y="2533538"/>
                  <a:pt x="1162237" y="2534442"/>
                </a:cubicBezTo>
                <a:lnTo>
                  <a:pt x="1162237" y="2560625"/>
                </a:lnTo>
                <a:cubicBezTo>
                  <a:pt x="1162237" y="2562433"/>
                  <a:pt x="1165112" y="2564070"/>
                  <a:pt x="1169759" y="2565255"/>
                </a:cubicBezTo>
                <a:cubicBezTo>
                  <a:pt x="1174407" y="2566440"/>
                  <a:pt x="1180827" y="2567172"/>
                  <a:pt x="1187918" y="2567172"/>
                </a:cubicBezTo>
                <a:close/>
                <a:moveTo>
                  <a:pt x="1025770" y="2567172"/>
                </a:moveTo>
                <a:lnTo>
                  <a:pt x="1043928" y="2565255"/>
                </a:lnTo>
                <a:lnTo>
                  <a:pt x="1049432" y="2563174"/>
                </a:lnTo>
                <a:lnTo>
                  <a:pt x="1051451" y="2560625"/>
                </a:lnTo>
                <a:lnTo>
                  <a:pt x="1051451" y="2534442"/>
                </a:lnTo>
                <a:lnTo>
                  <a:pt x="1049432" y="2531893"/>
                </a:lnTo>
                <a:lnTo>
                  <a:pt x="1043928" y="2529812"/>
                </a:lnTo>
                <a:cubicBezTo>
                  <a:pt x="1039280" y="2528628"/>
                  <a:pt x="1032860" y="2527895"/>
                  <a:pt x="1025770" y="2527895"/>
                </a:cubicBezTo>
                <a:cubicBezTo>
                  <a:pt x="1015134" y="2527895"/>
                  <a:pt x="1006006" y="2529543"/>
                  <a:pt x="1002107" y="2531893"/>
                </a:cubicBezTo>
                <a:cubicBezTo>
                  <a:pt x="1000807" y="2532677"/>
                  <a:pt x="1000089" y="2533538"/>
                  <a:pt x="1000089" y="2534442"/>
                </a:cubicBezTo>
                <a:lnTo>
                  <a:pt x="1000089" y="2560625"/>
                </a:lnTo>
                <a:cubicBezTo>
                  <a:pt x="1000089" y="2562433"/>
                  <a:pt x="1002964" y="2564070"/>
                  <a:pt x="1007611" y="2565255"/>
                </a:cubicBezTo>
                <a:cubicBezTo>
                  <a:pt x="1012259" y="2566440"/>
                  <a:pt x="1018679" y="2567172"/>
                  <a:pt x="1025770" y="2567172"/>
                </a:cubicBezTo>
                <a:close/>
                <a:moveTo>
                  <a:pt x="863622" y="2567172"/>
                </a:moveTo>
                <a:lnTo>
                  <a:pt x="881780" y="2565255"/>
                </a:lnTo>
                <a:lnTo>
                  <a:pt x="887284" y="2563174"/>
                </a:lnTo>
                <a:lnTo>
                  <a:pt x="889303" y="2560625"/>
                </a:lnTo>
                <a:lnTo>
                  <a:pt x="889303" y="2534442"/>
                </a:lnTo>
                <a:lnTo>
                  <a:pt x="887284" y="2531893"/>
                </a:lnTo>
                <a:lnTo>
                  <a:pt x="881780" y="2529812"/>
                </a:lnTo>
                <a:cubicBezTo>
                  <a:pt x="877132" y="2528628"/>
                  <a:pt x="870712" y="2527895"/>
                  <a:pt x="863622" y="2527895"/>
                </a:cubicBezTo>
                <a:cubicBezTo>
                  <a:pt x="852986" y="2527895"/>
                  <a:pt x="843858" y="2529543"/>
                  <a:pt x="839959" y="2531893"/>
                </a:cubicBezTo>
                <a:cubicBezTo>
                  <a:pt x="838659" y="2532677"/>
                  <a:pt x="837941" y="2533538"/>
                  <a:pt x="837941" y="2534442"/>
                </a:cubicBezTo>
                <a:lnTo>
                  <a:pt x="837941" y="2560625"/>
                </a:lnTo>
                <a:cubicBezTo>
                  <a:pt x="837941" y="2562433"/>
                  <a:pt x="840816" y="2564070"/>
                  <a:pt x="845463" y="2565255"/>
                </a:cubicBezTo>
                <a:cubicBezTo>
                  <a:pt x="850111" y="2566440"/>
                  <a:pt x="856531" y="2567172"/>
                  <a:pt x="863622" y="2567172"/>
                </a:cubicBezTo>
                <a:close/>
                <a:moveTo>
                  <a:pt x="701475" y="2567172"/>
                </a:moveTo>
                <a:lnTo>
                  <a:pt x="719633" y="2565255"/>
                </a:lnTo>
                <a:lnTo>
                  <a:pt x="725137" y="2563174"/>
                </a:lnTo>
                <a:lnTo>
                  <a:pt x="727156" y="2560625"/>
                </a:lnTo>
                <a:lnTo>
                  <a:pt x="727156" y="2534442"/>
                </a:lnTo>
                <a:lnTo>
                  <a:pt x="725137" y="2531893"/>
                </a:lnTo>
                <a:lnTo>
                  <a:pt x="719633" y="2529812"/>
                </a:lnTo>
                <a:cubicBezTo>
                  <a:pt x="714985" y="2528628"/>
                  <a:pt x="708565" y="2527895"/>
                  <a:pt x="701475" y="2527895"/>
                </a:cubicBezTo>
                <a:cubicBezTo>
                  <a:pt x="690839" y="2527895"/>
                  <a:pt x="681711" y="2529543"/>
                  <a:pt x="677812" y="2531893"/>
                </a:cubicBezTo>
                <a:cubicBezTo>
                  <a:pt x="676512" y="2532677"/>
                  <a:pt x="675794" y="2533538"/>
                  <a:pt x="675794" y="2534442"/>
                </a:cubicBezTo>
                <a:lnTo>
                  <a:pt x="675794" y="2560625"/>
                </a:lnTo>
                <a:cubicBezTo>
                  <a:pt x="675794" y="2562433"/>
                  <a:pt x="678669" y="2564070"/>
                  <a:pt x="683316" y="2565255"/>
                </a:cubicBezTo>
                <a:cubicBezTo>
                  <a:pt x="687964" y="2566440"/>
                  <a:pt x="694384" y="2567172"/>
                  <a:pt x="701475" y="2567172"/>
                </a:cubicBezTo>
                <a:close/>
                <a:moveTo>
                  <a:pt x="539328" y="2567172"/>
                </a:moveTo>
                <a:lnTo>
                  <a:pt x="557486" y="2565255"/>
                </a:lnTo>
                <a:lnTo>
                  <a:pt x="562990" y="2563174"/>
                </a:lnTo>
                <a:lnTo>
                  <a:pt x="565009" y="2560625"/>
                </a:lnTo>
                <a:lnTo>
                  <a:pt x="565009" y="2534442"/>
                </a:lnTo>
                <a:lnTo>
                  <a:pt x="562990" y="2531893"/>
                </a:lnTo>
                <a:lnTo>
                  <a:pt x="557486" y="2529812"/>
                </a:lnTo>
                <a:cubicBezTo>
                  <a:pt x="552838" y="2528628"/>
                  <a:pt x="546418" y="2527895"/>
                  <a:pt x="539328" y="2527895"/>
                </a:cubicBezTo>
                <a:cubicBezTo>
                  <a:pt x="528692" y="2527895"/>
                  <a:pt x="519564" y="2529543"/>
                  <a:pt x="515665" y="2531893"/>
                </a:cubicBezTo>
                <a:cubicBezTo>
                  <a:pt x="514365" y="2532677"/>
                  <a:pt x="513647" y="2533538"/>
                  <a:pt x="513647" y="2534442"/>
                </a:cubicBezTo>
                <a:lnTo>
                  <a:pt x="513647" y="2560625"/>
                </a:lnTo>
                <a:cubicBezTo>
                  <a:pt x="513647" y="2562433"/>
                  <a:pt x="516522" y="2564070"/>
                  <a:pt x="521169" y="2565255"/>
                </a:cubicBezTo>
                <a:cubicBezTo>
                  <a:pt x="525817" y="2566440"/>
                  <a:pt x="532237" y="2567172"/>
                  <a:pt x="539328" y="2567172"/>
                </a:cubicBezTo>
                <a:close/>
                <a:moveTo>
                  <a:pt x="377181" y="2567172"/>
                </a:moveTo>
                <a:lnTo>
                  <a:pt x="395339" y="2565255"/>
                </a:lnTo>
                <a:lnTo>
                  <a:pt x="400843" y="2563174"/>
                </a:lnTo>
                <a:lnTo>
                  <a:pt x="402862" y="2560625"/>
                </a:lnTo>
                <a:lnTo>
                  <a:pt x="402862" y="2534442"/>
                </a:lnTo>
                <a:lnTo>
                  <a:pt x="400843" y="2531893"/>
                </a:lnTo>
                <a:lnTo>
                  <a:pt x="395339" y="2529812"/>
                </a:lnTo>
                <a:cubicBezTo>
                  <a:pt x="390691" y="2528628"/>
                  <a:pt x="384271" y="2527895"/>
                  <a:pt x="377181" y="2527895"/>
                </a:cubicBezTo>
                <a:cubicBezTo>
                  <a:pt x="366545" y="2527895"/>
                  <a:pt x="357417" y="2529543"/>
                  <a:pt x="353518" y="2531893"/>
                </a:cubicBezTo>
                <a:cubicBezTo>
                  <a:pt x="352218" y="2532677"/>
                  <a:pt x="351500" y="2533538"/>
                  <a:pt x="351500" y="2534442"/>
                </a:cubicBezTo>
                <a:lnTo>
                  <a:pt x="351500" y="2560625"/>
                </a:lnTo>
                <a:cubicBezTo>
                  <a:pt x="351500" y="2562433"/>
                  <a:pt x="354375" y="2564070"/>
                  <a:pt x="359022" y="2565255"/>
                </a:cubicBezTo>
                <a:cubicBezTo>
                  <a:pt x="363670" y="2566440"/>
                  <a:pt x="370090" y="2567172"/>
                  <a:pt x="377181" y="2567172"/>
                </a:cubicBezTo>
                <a:close/>
                <a:moveTo>
                  <a:pt x="215033" y="2567172"/>
                </a:moveTo>
                <a:lnTo>
                  <a:pt x="233191" y="2565255"/>
                </a:lnTo>
                <a:lnTo>
                  <a:pt x="238695" y="2563174"/>
                </a:lnTo>
                <a:lnTo>
                  <a:pt x="240714" y="2560625"/>
                </a:lnTo>
                <a:lnTo>
                  <a:pt x="240714" y="2534442"/>
                </a:lnTo>
                <a:lnTo>
                  <a:pt x="238695" y="2531893"/>
                </a:lnTo>
                <a:lnTo>
                  <a:pt x="233191" y="2529812"/>
                </a:lnTo>
                <a:cubicBezTo>
                  <a:pt x="228543" y="2528628"/>
                  <a:pt x="222123" y="2527895"/>
                  <a:pt x="215033" y="2527895"/>
                </a:cubicBezTo>
                <a:cubicBezTo>
                  <a:pt x="204397" y="2527895"/>
                  <a:pt x="195269" y="2529543"/>
                  <a:pt x="191370" y="2531893"/>
                </a:cubicBezTo>
                <a:cubicBezTo>
                  <a:pt x="190070" y="2532677"/>
                  <a:pt x="189352" y="2533538"/>
                  <a:pt x="189352" y="2534442"/>
                </a:cubicBezTo>
                <a:lnTo>
                  <a:pt x="189352" y="2560625"/>
                </a:lnTo>
                <a:cubicBezTo>
                  <a:pt x="189352" y="2562433"/>
                  <a:pt x="192227" y="2564070"/>
                  <a:pt x="196874" y="2565255"/>
                </a:cubicBezTo>
                <a:cubicBezTo>
                  <a:pt x="201522" y="2566440"/>
                  <a:pt x="207942" y="2567172"/>
                  <a:pt x="215033" y="2567172"/>
                </a:cubicBezTo>
                <a:close/>
                <a:moveTo>
                  <a:pt x="146290" y="2789345"/>
                </a:moveTo>
                <a:cubicBezTo>
                  <a:pt x="123931" y="2789345"/>
                  <a:pt x="105805" y="2771219"/>
                  <a:pt x="105805" y="2748860"/>
                </a:cubicBezTo>
                <a:lnTo>
                  <a:pt x="105805" y="2201180"/>
                </a:lnTo>
                <a:lnTo>
                  <a:pt x="107588" y="2196877"/>
                </a:lnTo>
                <a:lnTo>
                  <a:pt x="105805" y="2188048"/>
                </a:lnTo>
                <a:lnTo>
                  <a:pt x="105805" y="1092736"/>
                </a:lnTo>
                <a:cubicBezTo>
                  <a:pt x="105805" y="1067074"/>
                  <a:pt x="126609" y="1046270"/>
                  <a:pt x="152271" y="1046270"/>
                </a:cubicBezTo>
                <a:lnTo>
                  <a:pt x="780858" y="1046270"/>
                </a:lnTo>
                <a:cubicBezTo>
                  <a:pt x="806520" y="1046270"/>
                  <a:pt x="827324" y="1067074"/>
                  <a:pt x="827324" y="1092736"/>
                </a:cubicBezTo>
                <a:lnTo>
                  <a:pt x="827324" y="2160695"/>
                </a:lnTo>
                <a:lnTo>
                  <a:pt x="1255945" y="2160695"/>
                </a:lnTo>
                <a:cubicBezTo>
                  <a:pt x="1278304" y="2160695"/>
                  <a:pt x="1296430" y="2178821"/>
                  <a:pt x="1296430" y="2201180"/>
                </a:cubicBezTo>
                <a:lnTo>
                  <a:pt x="1296430" y="2748860"/>
                </a:lnTo>
                <a:cubicBezTo>
                  <a:pt x="1296430" y="2771219"/>
                  <a:pt x="1278304" y="2789345"/>
                  <a:pt x="1255945" y="2789345"/>
                </a:cubicBezTo>
                <a:close/>
                <a:moveTo>
                  <a:pt x="0" y="2959444"/>
                </a:moveTo>
                <a:lnTo>
                  <a:pt x="1402492" y="2959444"/>
                </a:lnTo>
                <a:lnTo>
                  <a:pt x="1402492" y="205724"/>
                </a:lnTo>
                <a:lnTo>
                  <a:pt x="0" y="205724"/>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a:gradFill>
                <a:gsLst>
                  <a:gs pos="0">
                    <a:srgbClr val="FFFFFF"/>
                  </a:gs>
                  <a:gs pos="100000">
                    <a:srgbClr val="FFFFFF"/>
                  </a:gs>
                </a:gsLst>
                <a:lin ang="5400000" scaled="0"/>
              </a:gradFill>
              <a:ea typeface="Segoe UI" pitchFamily="34" charset="0"/>
              <a:cs typeface="Segoe UI" pitchFamily="34" charset="0"/>
            </a:endParaRPr>
          </a:p>
        </p:txBody>
      </p:sp>
      <p:sp>
        <p:nvSpPr>
          <p:cNvPr id="4763" name="Rounded Rectangle 4762"/>
          <p:cNvSpPr/>
          <p:nvPr>
            <p:custDataLst>
              <p:tags r:id="rId24"/>
            </p:custDataLst>
          </p:nvPr>
        </p:nvSpPr>
        <p:spPr bwMode="auto">
          <a:xfrm>
            <a:off x="2810159" y="1455767"/>
            <a:ext cx="773970" cy="801556"/>
          </a:xfrm>
          <a:prstGeom prst="roundRect">
            <a:avLst>
              <a:gd name="adj" fmla="val 11507"/>
            </a:avLst>
          </a:prstGeom>
          <a:solidFill>
            <a:schemeClr val="accent2">
              <a:lumMod val="75000"/>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4765" name="Rounded Rectangle 4764"/>
          <p:cNvSpPr/>
          <p:nvPr>
            <p:custDataLst>
              <p:tags r:id="rId25"/>
            </p:custDataLst>
          </p:nvPr>
        </p:nvSpPr>
        <p:spPr bwMode="auto">
          <a:xfrm>
            <a:off x="1205565" y="1526844"/>
            <a:ext cx="666326" cy="690075"/>
          </a:xfrm>
          <a:prstGeom prst="roundRect">
            <a:avLst>
              <a:gd name="adj" fmla="val 11507"/>
            </a:avLst>
          </a:prstGeom>
          <a:solidFill>
            <a:schemeClr val="accent2">
              <a:lumMod val="75000"/>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4766" name="Rounded Rectangle 4765"/>
          <p:cNvSpPr/>
          <p:nvPr>
            <p:custDataLst>
              <p:tags r:id="rId26"/>
            </p:custDataLst>
          </p:nvPr>
        </p:nvSpPr>
        <p:spPr bwMode="auto">
          <a:xfrm>
            <a:off x="2055415" y="1283952"/>
            <a:ext cx="666326" cy="690075"/>
          </a:xfrm>
          <a:prstGeom prst="roundRect">
            <a:avLst>
              <a:gd name="adj" fmla="val 11507"/>
            </a:avLst>
          </a:prstGeom>
          <a:solidFill>
            <a:schemeClr val="accent2">
              <a:lumMod val="75000"/>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4767" name="Rounded Rectangle 4766"/>
          <p:cNvSpPr/>
          <p:nvPr>
            <p:custDataLst>
              <p:tags r:id="rId27"/>
            </p:custDataLst>
          </p:nvPr>
        </p:nvSpPr>
        <p:spPr bwMode="auto">
          <a:xfrm>
            <a:off x="3536533" y="2227157"/>
            <a:ext cx="666326" cy="690075"/>
          </a:xfrm>
          <a:prstGeom prst="roundRect">
            <a:avLst>
              <a:gd name="adj" fmla="val 11507"/>
            </a:avLst>
          </a:prstGeom>
          <a:solidFill>
            <a:schemeClr val="accent2">
              <a:lumMod val="75000"/>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4768" name="Rounded Rectangle 4767"/>
          <p:cNvSpPr/>
          <p:nvPr>
            <p:custDataLst>
              <p:tags r:id="rId28"/>
            </p:custDataLst>
          </p:nvPr>
        </p:nvSpPr>
        <p:spPr bwMode="auto">
          <a:xfrm>
            <a:off x="3925461" y="1175699"/>
            <a:ext cx="666326" cy="690075"/>
          </a:xfrm>
          <a:prstGeom prst="roundRect">
            <a:avLst>
              <a:gd name="adj" fmla="val 11507"/>
            </a:avLst>
          </a:prstGeom>
          <a:solidFill>
            <a:schemeClr val="accent2">
              <a:lumMod val="75000"/>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4769" name="Rounded Rectangle 4768"/>
          <p:cNvSpPr/>
          <p:nvPr>
            <p:custDataLst>
              <p:tags r:id="rId29"/>
            </p:custDataLst>
          </p:nvPr>
        </p:nvSpPr>
        <p:spPr bwMode="auto">
          <a:xfrm>
            <a:off x="3367988" y="605135"/>
            <a:ext cx="602659" cy="624139"/>
          </a:xfrm>
          <a:prstGeom prst="roundRect">
            <a:avLst>
              <a:gd name="adj" fmla="val 11507"/>
            </a:avLst>
          </a:prstGeom>
          <a:solidFill>
            <a:schemeClr val="accent2">
              <a:lumMod val="75000"/>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4770" name="Rounded Rectangle 4769"/>
          <p:cNvSpPr/>
          <p:nvPr>
            <p:custDataLst>
              <p:tags r:id="rId30"/>
            </p:custDataLst>
          </p:nvPr>
        </p:nvSpPr>
        <p:spPr bwMode="auto">
          <a:xfrm>
            <a:off x="1587700" y="676091"/>
            <a:ext cx="602659" cy="624139"/>
          </a:xfrm>
          <a:prstGeom prst="roundRect">
            <a:avLst>
              <a:gd name="adj" fmla="val 11507"/>
            </a:avLst>
          </a:prstGeom>
          <a:solidFill>
            <a:schemeClr val="accent2">
              <a:lumMod val="75000"/>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4771" name="Rounded Rectangle 4770"/>
          <p:cNvSpPr/>
          <p:nvPr>
            <p:custDataLst>
              <p:tags r:id="rId31"/>
            </p:custDataLst>
          </p:nvPr>
        </p:nvSpPr>
        <p:spPr bwMode="auto">
          <a:xfrm>
            <a:off x="2415218" y="306386"/>
            <a:ext cx="773970" cy="801556"/>
          </a:xfrm>
          <a:prstGeom prst="roundRect">
            <a:avLst>
              <a:gd name="adj" fmla="val 11507"/>
            </a:avLst>
          </a:prstGeom>
          <a:solidFill>
            <a:schemeClr val="accent2">
              <a:lumMod val="75000"/>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4772" name="Rounded Rectangle 4771"/>
          <p:cNvSpPr/>
          <p:nvPr>
            <p:custDataLst>
              <p:tags r:id="rId32"/>
            </p:custDataLst>
          </p:nvPr>
        </p:nvSpPr>
        <p:spPr bwMode="auto">
          <a:xfrm>
            <a:off x="719107" y="749536"/>
            <a:ext cx="666326" cy="690075"/>
          </a:xfrm>
          <a:prstGeom prst="roundRect">
            <a:avLst>
              <a:gd name="adj" fmla="val 11507"/>
            </a:avLst>
          </a:prstGeom>
          <a:solidFill>
            <a:schemeClr val="accent2">
              <a:lumMod val="75000"/>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4773" name="Rounded Rectangle 4772"/>
          <p:cNvSpPr/>
          <p:nvPr>
            <p:custDataLst>
              <p:tags r:id="rId33"/>
            </p:custDataLst>
          </p:nvPr>
        </p:nvSpPr>
        <p:spPr bwMode="auto">
          <a:xfrm>
            <a:off x="4663657" y="1708923"/>
            <a:ext cx="773970" cy="801556"/>
          </a:xfrm>
          <a:prstGeom prst="roundRect">
            <a:avLst>
              <a:gd name="adj" fmla="val 11507"/>
            </a:avLst>
          </a:prstGeom>
          <a:solidFill>
            <a:schemeClr val="accent2">
              <a:lumMod val="75000"/>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4774" name="Rounded Rectangle 4773"/>
          <p:cNvSpPr/>
          <p:nvPr>
            <p:custDataLst>
              <p:tags r:id="rId34"/>
            </p:custDataLst>
          </p:nvPr>
        </p:nvSpPr>
        <p:spPr bwMode="auto">
          <a:xfrm>
            <a:off x="2020990" y="412930"/>
            <a:ext cx="382126" cy="395746"/>
          </a:xfrm>
          <a:prstGeom prst="roundRect">
            <a:avLst>
              <a:gd name="adj" fmla="val 11507"/>
            </a:avLst>
          </a:prstGeom>
          <a:solidFill>
            <a:schemeClr val="accent2">
              <a:lumMod val="75000"/>
              <a:alpha val="5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4776" name="Rounded Rectangle 4775"/>
          <p:cNvSpPr/>
          <p:nvPr>
            <p:custDataLst>
              <p:tags r:id="rId35"/>
            </p:custDataLst>
          </p:nvPr>
        </p:nvSpPr>
        <p:spPr bwMode="auto">
          <a:xfrm>
            <a:off x="2129435" y="2121098"/>
            <a:ext cx="631962" cy="654487"/>
          </a:xfrm>
          <a:prstGeom prst="roundRect">
            <a:avLst>
              <a:gd name="adj" fmla="val 11507"/>
            </a:avLst>
          </a:prstGeom>
          <a:solidFill>
            <a:schemeClr val="accent2">
              <a:lumMod val="75000"/>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4777" name="Rounded Rectangle 4776"/>
          <p:cNvSpPr/>
          <p:nvPr>
            <p:custDataLst>
              <p:tags r:id="rId36"/>
            </p:custDataLst>
          </p:nvPr>
        </p:nvSpPr>
        <p:spPr bwMode="auto">
          <a:xfrm>
            <a:off x="918687" y="3240907"/>
            <a:ext cx="666326" cy="690075"/>
          </a:xfrm>
          <a:prstGeom prst="roundRect">
            <a:avLst>
              <a:gd name="adj" fmla="val 11507"/>
            </a:avLst>
          </a:prstGeom>
          <a:solidFill>
            <a:schemeClr val="accent2">
              <a:lumMod val="75000"/>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4778" name="Freeform 72"/>
          <p:cNvSpPr>
            <a:spLocks noChangeAspect="1" noEditPoints="1"/>
          </p:cNvSpPr>
          <p:nvPr/>
        </p:nvSpPr>
        <p:spPr bwMode="auto">
          <a:xfrm>
            <a:off x="2223158" y="1433809"/>
            <a:ext cx="338640" cy="458946"/>
          </a:xfrm>
          <a:custGeom>
            <a:avLst/>
            <a:gdLst>
              <a:gd name="T0" fmla="*/ 272 w 380"/>
              <a:gd name="T1" fmla="*/ 190 h 515"/>
              <a:gd name="T2" fmla="*/ 263 w 380"/>
              <a:gd name="T3" fmla="*/ 352 h 515"/>
              <a:gd name="T4" fmla="*/ 259 w 380"/>
              <a:gd name="T5" fmla="*/ 436 h 515"/>
              <a:gd name="T6" fmla="*/ 257 w 380"/>
              <a:gd name="T7" fmla="*/ 450 h 515"/>
              <a:gd name="T8" fmla="*/ 271 w 380"/>
              <a:gd name="T9" fmla="*/ 469 h 515"/>
              <a:gd name="T10" fmla="*/ 292 w 380"/>
              <a:gd name="T11" fmla="*/ 461 h 515"/>
              <a:gd name="T12" fmla="*/ 305 w 380"/>
              <a:gd name="T13" fmla="*/ 186 h 515"/>
              <a:gd name="T14" fmla="*/ 194 w 380"/>
              <a:gd name="T15" fmla="*/ 181 h 515"/>
              <a:gd name="T16" fmla="*/ 173 w 380"/>
              <a:gd name="T17" fmla="*/ 190 h 515"/>
              <a:gd name="T18" fmla="*/ 171 w 380"/>
              <a:gd name="T19" fmla="*/ 361 h 515"/>
              <a:gd name="T20" fmla="*/ 171 w 380"/>
              <a:gd name="T21" fmla="*/ 450 h 515"/>
              <a:gd name="T22" fmla="*/ 182 w 380"/>
              <a:gd name="T23" fmla="*/ 469 h 515"/>
              <a:gd name="T24" fmla="*/ 203 w 380"/>
              <a:gd name="T25" fmla="*/ 463 h 515"/>
              <a:gd name="T26" fmla="*/ 205 w 380"/>
              <a:gd name="T27" fmla="*/ 190 h 515"/>
              <a:gd name="T28" fmla="*/ 92 w 380"/>
              <a:gd name="T29" fmla="*/ 181 h 515"/>
              <a:gd name="T30" fmla="*/ 77 w 380"/>
              <a:gd name="T31" fmla="*/ 188 h 515"/>
              <a:gd name="T32" fmla="*/ 82 w 380"/>
              <a:gd name="T33" fmla="*/ 313 h 515"/>
              <a:gd name="T34" fmla="*/ 84 w 380"/>
              <a:gd name="T35" fmla="*/ 432 h 515"/>
              <a:gd name="T36" fmla="*/ 86 w 380"/>
              <a:gd name="T37" fmla="*/ 456 h 515"/>
              <a:gd name="T38" fmla="*/ 94 w 380"/>
              <a:gd name="T39" fmla="*/ 469 h 515"/>
              <a:gd name="T40" fmla="*/ 119 w 380"/>
              <a:gd name="T41" fmla="*/ 463 h 515"/>
              <a:gd name="T42" fmla="*/ 119 w 380"/>
              <a:gd name="T43" fmla="*/ 334 h 515"/>
              <a:gd name="T44" fmla="*/ 115 w 380"/>
              <a:gd name="T45" fmla="*/ 219 h 515"/>
              <a:gd name="T46" fmla="*/ 115 w 380"/>
              <a:gd name="T47" fmla="*/ 196 h 515"/>
              <a:gd name="T48" fmla="*/ 103 w 380"/>
              <a:gd name="T49" fmla="*/ 185 h 515"/>
              <a:gd name="T50" fmla="*/ 315 w 380"/>
              <a:gd name="T51" fmla="*/ 136 h 515"/>
              <a:gd name="T52" fmla="*/ 351 w 380"/>
              <a:gd name="T53" fmla="*/ 173 h 515"/>
              <a:gd name="T54" fmla="*/ 342 w 380"/>
              <a:gd name="T55" fmla="*/ 383 h 515"/>
              <a:gd name="T56" fmla="*/ 338 w 380"/>
              <a:gd name="T57" fmla="*/ 459 h 515"/>
              <a:gd name="T58" fmla="*/ 336 w 380"/>
              <a:gd name="T59" fmla="*/ 471 h 515"/>
              <a:gd name="T60" fmla="*/ 301 w 380"/>
              <a:gd name="T61" fmla="*/ 515 h 515"/>
              <a:gd name="T62" fmla="*/ 92 w 380"/>
              <a:gd name="T63" fmla="*/ 515 h 515"/>
              <a:gd name="T64" fmla="*/ 65 w 380"/>
              <a:gd name="T65" fmla="*/ 507 h 515"/>
              <a:gd name="T66" fmla="*/ 36 w 380"/>
              <a:gd name="T67" fmla="*/ 346 h 515"/>
              <a:gd name="T68" fmla="*/ 30 w 380"/>
              <a:gd name="T69" fmla="*/ 211 h 515"/>
              <a:gd name="T70" fmla="*/ 29 w 380"/>
              <a:gd name="T71" fmla="*/ 175 h 515"/>
              <a:gd name="T72" fmla="*/ 46 w 380"/>
              <a:gd name="T73" fmla="*/ 142 h 515"/>
              <a:gd name="T74" fmla="*/ 353 w 380"/>
              <a:gd name="T75" fmla="*/ 58 h 515"/>
              <a:gd name="T76" fmla="*/ 367 w 380"/>
              <a:gd name="T77" fmla="*/ 58 h 515"/>
              <a:gd name="T78" fmla="*/ 380 w 380"/>
              <a:gd name="T79" fmla="*/ 79 h 515"/>
              <a:gd name="T80" fmla="*/ 370 w 380"/>
              <a:gd name="T81" fmla="*/ 106 h 515"/>
              <a:gd name="T82" fmla="*/ 217 w 380"/>
              <a:gd name="T83" fmla="*/ 108 h 515"/>
              <a:gd name="T84" fmla="*/ 15 w 380"/>
              <a:gd name="T85" fmla="*/ 108 h 515"/>
              <a:gd name="T86" fmla="*/ 0 w 380"/>
              <a:gd name="T87" fmla="*/ 87 h 515"/>
              <a:gd name="T88" fmla="*/ 7 w 380"/>
              <a:gd name="T89" fmla="*/ 62 h 515"/>
              <a:gd name="T90" fmla="*/ 292 w 380"/>
              <a:gd name="T91" fmla="*/ 58 h 515"/>
              <a:gd name="T92" fmla="*/ 238 w 380"/>
              <a:gd name="T93" fmla="*/ 2 h 515"/>
              <a:gd name="T94" fmla="*/ 242 w 380"/>
              <a:gd name="T95" fmla="*/ 27 h 515"/>
              <a:gd name="T96" fmla="*/ 228 w 380"/>
              <a:gd name="T97" fmla="*/ 35 h 515"/>
              <a:gd name="T98" fmla="*/ 140 w 380"/>
              <a:gd name="T99" fmla="*/ 31 h 515"/>
              <a:gd name="T100" fmla="*/ 138 w 380"/>
              <a:gd name="T101" fmla="*/ 8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80" h="515">
                <a:moveTo>
                  <a:pt x="286" y="181"/>
                </a:moveTo>
                <a:lnTo>
                  <a:pt x="280" y="183"/>
                </a:lnTo>
                <a:lnTo>
                  <a:pt x="276" y="185"/>
                </a:lnTo>
                <a:lnTo>
                  <a:pt x="272" y="190"/>
                </a:lnTo>
                <a:lnTo>
                  <a:pt x="272" y="196"/>
                </a:lnTo>
                <a:lnTo>
                  <a:pt x="269" y="258"/>
                </a:lnTo>
                <a:lnTo>
                  <a:pt x="265" y="309"/>
                </a:lnTo>
                <a:lnTo>
                  <a:pt x="263" y="352"/>
                </a:lnTo>
                <a:lnTo>
                  <a:pt x="261" y="384"/>
                </a:lnTo>
                <a:lnTo>
                  <a:pt x="259" y="407"/>
                </a:lnTo>
                <a:lnTo>
                  <a:pt x="259" y="425"/>
                </a:lnTo>
                <a:lnTo>
                  <a:pt x="259" y="436"/>
                </a:lnTo>
                <a:lnTo>
                  <a:pt x="257" y="444"/>
                </a:lnTo>
                <a:lnTo>
                  <a:pt x="257" y="448"/>
                </a:lnTo>
                <a:lnTo>
                  <a:pt x="257" y="448"/>
                </a:lnTo>
                <a:lnTo>
                  <a:pt x="257" y="450"/>
                </a:lnTo>
                <a:lnTo>
                  <a:pt x="259" y="457"/>
                </a:lnTo>
                <a:lnTo>
                  <a:pt x="261" y="463"/>
                </a:lnTo>
                <a:lnTo>
                  <a:pt x="265" y="467"/>
                </a:lnTo>
                <a:lnTo>
                  <a:pt x="271" y="469"/>
                </a:lnTo>
                <a:lnTo>
                  <a:pt x="278" y="471"/>
                </a:lnTo>
                <a:lnTo>
                  <a:pt x="284" y="469"/>
                </a:lnTo>
                <a:lnTo>
                  <a:pt x="290" y="467"/>
                </a:lnTo>
                <a:lnTo>
                  <a:pt x="292" y="461"/>
                </a:lnTo>
                <a:lnTo>
                  <a:pt x="294" y="456"/>
                </a:lnTo>
                <a:lnTo>
                  <a:pt x="307" y="196"/>
                </a:lnTo>
                <a:lnTo>
                  <a:pt x="307" y="190"/>
                </a:lnTo>
                <a:lnTo>
                  <a:pt x="305" y="186"/>
                </a:lnTo>
                <a:lnTo>
                  <a:pt x="299" y="185"/>
                </a:lnTo>
                <a:lnTo>
                  <a:pt x="294" y="181"/>
                </a:lnTo>
                <a:lnTo>
                  <a:pt x="286" y="181"/>
                </a:lnTo>
                <a:close/>
                <a:moveTo>
                  <a:pt x="194" y="181"/>
                </a:moveTo>
                <a:lnTo>
                  <a:pt x="186" y="181"/>
                </a:lnTo>
                <a:lnTo>
                  <a:pt x="178" y="185"/>
                </a:lnTo>
                <a:lnTo>
                  <a:pt x="174" y="186"/>
                </a:lnTo>
                <a:lnTo>
                  <a:pt x="173" y="190"/>
                </a:lnTo>
                <a:lnTo>
                  <a:pt x="171" y="196"/>
                </a:lnTo>
                <a:lnTo>
                  <a:pt x="171" y="263"/>
                </a:lnTo>
                <a:lnTo>
                  <a:pt x="171" y="319"/>
                </a:lnTo>
                <a:lnTo>
                  <a:pt x="171" y="361"/>
                </a:lnTo>
                <a:lnTo>
                  <a:pt x="171" y="442"/>
                </a:lnTo>
                <a:lnTo>
                  <a:pt x="171" y="448"/>
                </a:lnTo>
                <a:lnTo>
                  <a:pt x="171" y="448"/>
                </a:lnTo>
                <a:lnTo>
                  <a:pt x="171" y="450"/>
                </a:lnTo>
                <a:lnTo>
                  <a:pt x="173" y="457"/>
                </a:lnTo>
                <a:lnTo>
                  <a:pt x="174" y="463"/>
                </a:lnTo>
                <a:lnTo>
                  <a:pt x="178" y="467"/>
                </a:lnTo>
                <a:lnTo>
                  <a:pt x="182" y="469"/>
                </a:lnTo>
                <a:lnTo>
                  <a:pt x="186" y="471"/>
                </a:lnTo>
                <a:lnTo>
                  <a:pt x="194" y="469"/>
                </a:lnTo>
                <a:lnTo>
                  <a:pt x="199" y="467"/>
                </a:lnTo>
                <a:lnTo>
                  <a:pt x="203" y="463"/>
                </a:lnTo>
                <a:lnTo>
                  <a:pt x="207" y="457"/>
                </a:lnTo>
                <a:lnTo>
                  <a:pt x="207" y="450"/>
                </a:lnTo>
                <a:lnTo>
                  <a:pt x="207" y="196"/>
                </a:lnTo>
                <a:lnTo>
                  <a:pt x="205" y="190"/>
                </a:lnTo>
                <a:lnTo>
                  <a:pt x="203" y="185"/>
                </a:lnTo>
                <a:lnTo>
                  <a:pt x="198" y="183"/>
                </a:lnTo>
                <a:lnTo>
                  <a:pt x="194" y="181"/>
                </a:lnTo>
                <a:close/>
                <a:moveTo>
                  <a:pt x="92" y="181"/>
                </a:moveTo>
                <a:lnTo>
                  <a:pt x="88" y="181"/>
                </a:lnTo>
                <a:lnTo>
                  <a:pt x="84" y="183"/>
                </a:lnTo>
                <a:lnTo>
                  <a:pt x="80" y="185"/>
                </a:lnTo>
                <a:lnTo>
                  <a:pt x="77" y="188"/>
                </a:lnTo>
                <a:lnTo>
                  <a:pt x="77" y="192"/>
                </a:lnTo>
                <a:lnTo>
                  <a:pt x="78" y="196"/>
                </a:lnTo>
                <a:lnTo>
                  <a:pt x="80" y="259"/>
                </a:lnTo>
                <a:lnTo>
                  <a:pt x="82" y="313"/>
                </a:lnTo>
                <a:lnTo>
                  <a:pt x="82" y="356"/>
                </a:lnTo>
                <a:lnTo>
                  <a:pt x="84" y="388"/>
                </a:lnTo>
                <a:lnTo>
                  <a:pt x="84" y="413"/>
                </a:lnTo>
                <a:lnTo>
                  <a:pt x="84" y="432"/>
                </a:lnTo>
                <a:lnTo>
                  <a:pt x="84" y="444"/>
                </a:lnTo>
                <a:lnTo>
                  <a:pt x="86" y="452"/>
                </a:lnTo>
                <a:lnTo>
                  <a:pt x="86" y="456"/>
                </a:lnTo>
                <a:lnTo>
                  <a:pt x="86" y="456"/>
                </a:lnTo>
                <a:lnTo>
                  <a:pt x="86" y="456"/>
                </a:lnTo>
                <a:lnTo>
                  <a:pt x="86" y="461"/>
                </a:lnTo>
                <a:lnTo>
                  <a:pt x="90" y="467"/>
                </a:lnTo>
                <a:lnTo>
                  <a:pt x="94" y="469"/>
                </a:lnTo>
                <a:lnTo>
                  <a:pt x="100" y="471"/>
                </a:lnTo>
                <a:lnTo>
                  <a:pt x="107" y="469"/>
                </a:lnTo>
                <a:lnTo>
                  <a:pt x="113" y="467"/>
                </a:lnTo>
                <a:lnTo>
                  <a:pt x="119" y="463"/>
                </a:lnTo>
                <a:lnTo>
                  <a:pt x="121" y="457"/>
                </a:lnTo>
                <a:lnTo>
                  <a:pt x="121" y="450"/>
                </a:lnTo>
                <a:lnTo>
                  <a:pt x="119" y="386"/>
                </a:lnTo>
                <a:lnTo>
                  <a:pt x="119" y="334"/>
                </a:lnTo>
                <a:lnTo>
                  <a:pt x="117" y="292"/>
                </a:lnTo>
                <a:lnTo>
                  <a:pt x="117" y="261"/>
                </a:lnTo>
                <a:lnTo>
                  <a:pt x="115" y="236"/>
                </a:lnTo>
                <a:lnTo>
                  <a:pt x="115" y="219"/>
                </a:lnTo>
                <a:lnTo>
                  <a:pt x="115" y="208"/>
                </a:lnTo>
                <a:lnTo>
                  <a:pt x="115" y="200"/>
                </a:lnTo>
                <a:lnTo>
                  <a:pt x="115" y="196"/>
                </a:lnTo>
                <a:lnTo>
                  <a:pt x="115" y="196"/>
                </a:lnTo>
                <a:lnTo>
                  <a:pt x="115" y="196"/>
                </a:lnTo>
                <a:lnTo>
                  <a:pt x="113" y="190"/>
                </a:lnTo>
                <a:lnTo>
                  <a:pt x="109" y="186"/>
                </a:lnTo>
                <a:lnTo>
                  <a:pt x="103" y="185"/>
                </a:lnTo>
                <a:lnTo>
                  <a:pt x="98" y="181"/>
                </a:lnTo>
                <a:lnTo>
                  <a:pt x="92" y="181"/>
                </a:lnTo>
                <a:close/>
                <a:moveTo>
                  <a:pt x="63" y="136"/>
                </a:moveTo>
                <a:lnTo>
                  <a:pt x="315" y="136"/>
                </a:lnTo>
                <a:lnTo>
                  <a:pt x="330" y="140"/>
                </a:lnTo>
                <a:lnTo>
                  <a:pt x="344" y="148"/>
                </a:lnTo>
                <a:lnTo>
                  <a:pt x="351" y="158"/>
                </a:lnTo>
                <a:lnTo>
                  <a:pt x="351" y="173"/>
                </a:lnTo>
                <a:lnTo>
                  <a:pt x="347" y="242"/>
                </a:lnTo>
                <a:lnTo>
                  <a:pt x="345" y="298"/>
                </a:lnTo>
                <a:lnTo>
                  <a:pt x="342" y="346"/>
                </a:lnTo>
                <a:lnTo>
                  <a:pt x="342" y="383"/>
                </a:lnTo>
                <a:lnTo>
                  <a:pt x="340" y="411"/>
                </a:lnTo>
                <a:lnTo>
                  <a:pt x="338" y="434"/>
                </a:lnTo>
                <a:lnTo>
                  <a:pt x="338" y="450"/>
                </a:lnTo>
                <a:lnTo>
                  <a:pt x="338" y="459"/>
                </a:lnTo>
                <a:lnTo>
                  <a:pt x="336" y="465"/>
                </a:lnTo>
                <a:lnTo>
                  <a:pt x="336" y="469"/>
                </a:lnTo>
                <a:lnTo>
                  <a:pt x="336" y="471"/>
                </a:lnTo>
                <a:lnTo>
                  <a:pt x="336" y="471"/>
                </a:lnTo>
                <a:lnTo>
                  <a:pt x="334" y="486"/>
                </a:lnTo>
                <a:lnTo>
                  <a:pt x="326" y="500"/>
                </a:lnTo>
                <a:lnTo>
                  <a:pt x="315" y="511"/>
                </a:lnTo>
                <a:lnTo>
                  <a:pt x="301" y="515"/>
                </a:lnTo>
                <a:lnTo>
                  <a:pt x="242" y="515"/>
                </a:lnTo>
                <a:lnTo>
                  <a:pt x="196" y="515"/>
                </a:lnTo>
                <a:lnTo>
                  <a:pt x="159" y="515"/>
                </a:lnTo>
                <a:lnTo>
                  <a:pt x="92" y="515"/>
                </a:lnTo>
                <a:lnTo>
                  <a:pt x="88" y="515"/>
                </a:lnTo>
                <a:lnTo>
                  <a:pt x="86" y="515"/>
                </a:lnTo>
                <a:lnTo>
                  <a:pt x="86" y="515"/>
                </a:lnTo>
                <a:lnTo>
                  <a:pt x="65" y="507"/>
                </a:lnTo>
                <a:lnTo>
                  <a:pt x="50" y="492"/>
                </a:lnTo>
                <a:lnTo>
                  <a:pt x="42" y="471"/>
                </a:lnTo>
                <a:lnTo>
                  <a:pt x="40" y="402"/>
                </a:lnTo>
                <a:lnTo>
                  <a:pt x="36" y="346"/>
                </a:lnTo>
                <a:lnTo>
                  <a:pt x="34" y="298"/>
                </a:lnTo>
                <a:lnTo>
                  <a:pt x="32" y="261"/>
                </a:lnTo>
                <a:lnTo>
                  <a:pt x="30" y="233"/>
                </a:lnTo>
                <a:lnTo>
                  <a:pt x="30" y="211"/>
                </a:lnTo>
                <a:lnTo>
                  <a:pt x="29" y="194"/>
                </a:lnTo>
                <a:lnTo>
                  <a:pt x="29" y="185"/>
                </a:lnTo>
                <a:lnTo>
                  <a:pt x="29" y="179"/>
                </a:lnTo>
                <a:lnTo>
                  <a:pt x="29" y="175"/>
                </a:lnTo>
                <a:lnTo>
                  <a:pt x="29" y="173"/>
                </a:lnTo>
                <a:lnTo>
                  <a:pt x="29" y="173"/>
                </a:lnTo>
                <a:lnTo>
                  <a:pt x="32" y="154"/>
                </a:lnTo>
                <a:lnTo>
                  <a:pt x="46" y="142"/>
                </a:lnTo>
                <a:lnTo>
                  <a:pt x="63" y="136"/>
                </a:lnTo>
                <a:close/>
                <a:moveTo>
                  <a:pt x="292" y="58"/>
                </a:moveTo>
                <a:lnTo>
                  <a:pt x="317" y="58"/>
                </a:lnTo>
                <a:lnTo>
                  <a:pt x="353" y="58"/>
                </a:lnTo>
                <a:lnTo>
                  <a:pt x="357" y="58"/>
                </a:lnTo>
                <a:lnTo>
                  <a:pt x="357" y="58"/>
                </a:lnTo>
                <a:lnTo>
                  <a:pt x="357" y="58"/>
                </a:lnTo>
                <a:lnTo>
                  <a:pt x="367" y="58"/>
                </a:lnTo>
                <a:lnTo>
                  <a:pt x="372" y="62"/>
                </a:lnTo>
                <a:lnTo>
                  <a:pt x="376" y="65"/>
                </a:lnTo>
                <a:lnTo>
                  <a:pt x="378" y="71"/>
                </a:lnTo>
                <a:lnTo>
                  <a:pt x="380" y="79"/>
                </a:lnTo>
                <a:lnTo>
                  <a:pt x="378" y="88"/>
                </a:lnTo>
                <a:lnTo>
                  <a:pt x="376" y="96"/>
                </a:lnTo>
                <a:lnTo>
                  <a:pt x="374" y="102"/>
                </a:lnTo>
                <a:lnTo>
                  <a:pt x="370" y="106"/>
                </a:lnTo>
                <a:lnTo>
                  <a:pt x="365" y="108"/>
                </a:lnTo>
                <a:lnTo>
                  <a:pt x="357" y="108"/>
                </a:lnTo>
                <a:lnTo>
                  <a:pt x="280" y="108"/>
                </a:lnTo>
                <a:lnTo>
                  <a:pt x="217" y="108"/>
                </a:lnTo>
                <a:lnTo>
                  <a:pt x="23" y="108"/>
                </a:lnTo>
                <a:lnTo>
                  <a:pt x="21" y="108"/>
                </a:lnTo>
                <a:lnTo>
                  <a:pt x="21" y="108"/>
                </a:lnTo>
                <a:lnTo>
                  <a:pt x="15" y="108"/>
                </a:lnTo>
                <a:lnTo>
                  <a:pt x="9" y="104"/>
                </a:lnTo>
                <a:lnTo>
                  <a:pt x="5" y="100"/>
                </a:lnTo>
                <a:lnTo>
                  <a:pt x="2" y="92"/>
                </a:lnTo>
                <a:lnTo>
                  <a:pt x="0" y="87"/>
                </a:lnTo>
                <a:lnTo>
                  <a:pt x="0" y="79"/>
                </a:lnTo>
                <a:lnTo>
                  <a:pt x="0" y="71"/>
                </a:lnTo>
                <a:lnTo>
                  <a:pt x="4" y="65"/>
                </a:lnTo>
                <a:lnTo>
                  <a:pt x="7" y="62"/>
                </a:lnTo>
                <a:lnTo>
                  <a:pt x="13" y="58"/>
                </a:lnTo>
                <a:lnTo>
                  <a:pt x="21" y="58"/>
                </a:lnTo>
                <a:lnTo>
                  <a:pt x="259" y="58"/>
                </a:lnTo>
                <a:lnTo>
                  <a:pt x="292" y="58"/>
                </a:lnTo>
                <a:close/>
                <a:moveTo>
                  <a:pt x="150" y="0"/>
                </a:moveTo>
                <a:lnTo>
                  <a:pt x="228" y="0"/>
                </a:lnTo>
                <a:lnTo>
                  <a:pt x="232" y="0"/>
                </a:lnTo>
                <a:lnTo>
                  <a:pt x="238" y="2"/>
                </a:lnTo>
                <a:lnTo>
                  <a:pt x="240" y="8"/>
                </a:lnTo>
                <a:lnTo>
                  <a:pt x="242" y="13"/>
                </a:lnTo>
                <a:lnTo>
                  <a:pt x="244" y="21"/>
                </a:lnTo>
                <a:lnTo>
                  <a:pt x="242" y="27"/>
                </a:lnTo>
                <a:lnTo>
                  <a:pt x="238" y="31"/>
                </a:lnTo>
                <a:lnTo>
                  <a:pt x="234" y="35"/>
                </a:lnTo>
                <a:lnTo>
                  <a:pt x="228" y="35"/>
                </a:lnTo>
                <a:lnTo>
                  <a:pt x="228" y="35"/>
                </a:lnTo>
                <a:lnTo>
                  <a:pt x="226" y="35"/>
                </a:lnTo>
                <a:lnTo>
                  <a:pt x="150" y="35"/>
                </a:lnTo>
                <a:lnTo>
                  <a:pt x="144" y="35"/>
                </a:lnTo>
                <a:lnTo>
                  <a:pt x="140" y="31"/>
                </a:lnTo>
                <a:lnTo>
                  <a:pt x="136" y="27"/>
                </a:lnTo>
                <a:lnTo>
                  <a:pt x="136" y="21"/>
                </a:lnTo>
                <a:lnTo>
                  <a:pt x="136" y="13"/>
                </a:lnTo>
                <a:lnTo>
                  <a:pt x="138" y="8"/>
                </a:lnTo>
                <a:lnTo>
                  <a:pt x="142" y="2"/>
                </a:lnTo>
                <a:lnTo>
                  <a:pt x="146" y="0"/>
                </a:lnTo>
                <a:lnTo>
                  <a:pt x="15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nvGrpSpPr>
          <p:cNvPr id="4779" name="Group 4778"/>
          <p:cNvGrpSpPr>
            <a:grpSpLocks noChangeAspect="1"/>
          </p:cNvGrpSpPr>
          <p:nvPr/>
        </p:nvGrpSpPr>
        <p:grpSpPr>
          <a:xfrm>
            <a:off x="2985008" y="1521697"/>
            <a:ext cx="559465" cy="679504"/>
            <a:chOff x="9090909" y="1470562"/>
            <a:chExt cx="690301" cy="838411"/>
          </a:xfrm>
          <a:solidFill>
            <a:schemeClr val="bg1"/>
          </a:solidFill>
        </p:grpSpPr>
        <p:sp>
          <p:nvSpPr>
            <p:cNvPr id="4780" name="Freeform 866"/>
            <p:cNvSpPr>
              <a:spLocks/>
            </p:cNvSpPr>
            <p:nvPr/>
          </p:nvSpPr>
          <p:spPr bwMode="auto">
            <a:xfrm>
              <a:off x="9090909" y="1470562"/>
              <a:ext cx="690301" cy="554092"/>
            </a:xfrm>
            <a:custGeom>
              <a:avLst/>
              <a:gdLst>
                <a:gd name="T0" fmla="*/ 257 w 522"/>
                <a:gd name="T1" fmla="*/ 2 h 419"/>
                <a:gd name="T2" fmla="*/ 290 w 522"/>
                <a:gd name="T3" fmla="*/ 13 h 419"/>
                <a:gd name="T4" fmla="*/ 415 w 522"/>
                <a:gd name="T5" fmla="*/ 6 h 419"/>
                <a:gd name="T6" fmla="*/ 453 w 522"/>
                <a:gd name="T7" fmla="*/ 0 h 419"/>
                <a:gd name="T8" fmla="*/ 501 w 522"/>
                <a:gd name="T9" fmla="*/ 12 h 419"/>
                <a:gd name="T10" fmla="*/ 522 w 522"/>
                <a:gd name="T11" fmla="*/ 38 h 419"/>
                <a:gd name="T12" fmla="*/ 501 w 522"/>
                <a:gd name="T13" fmla="*/ 65 h 419"/>
                <a:gd name="T14" fmla="*/ 453 w 522"/>
                <a:gd name="T15" fmla="*/ 77 h 419"/>
                <a:gd name="T16" fmla="*/ 411 w 522"/>
                <a:gd name="T17" fmla="*/ 69 h 419"/>
                <a:gd name="T18" fmla="*/ 365 w 522"/>
                <a:gd name="T19" fmla="*/ 60 h 419"/>
                <a:gd name="T20" fmla="*/ 365 w 522"/>
                <a:gd name="T21" fmla="*/ 63 h 419"/>
                <a:gd name="T22" fmla="*/ 365 w 522"/>
                <a:gd name="T23" fmla="*/ 88 h 419"/>
                <a:gd name="T24" fmla="*/ 388 w 522"/>
                <a:gd name="T25" fmla="*/ 129 h 419"/>
                <a:gd name="T26" fmla="*/ 418 w 522"/>
                <a:gd name="T27" fmla="*/ 169 h 419"/>
                <a:gd name="T28" fmla="*/ 422 w 522"/>
                <a:gd name="T29" fmla="*/ 204 h 419"/>
                <a:gd name="T30" fmla="*/ 436 w 522"/>
                <a:gd name="T31" fmla="*/ 211 h 419"/>
                <a:gd name="T32" fmla="*/ 436 w 522"/>
                <a:gd name="T33" fmla="*/ 213 h 419"/>
                <a:gd name="T34" fmla="*/ 438 w 522"/>
                <a:gd name="T35" fmla="*/ 231 h 419"/>
                <a:gd name="T36" fmla="*/ 440 w 522"/>
                <a:gd name="T37" fmla="*/ 279 h 419"/>
                <a:gd name="T38" fmla="*/ 434 w 522"/>
                <a:gd name="T39" fmla="*/ 319 h 419"/>
                <a:gd name="T40" fmla="*/ 244 w 522"/>
                <a:gd name="T41" fmla="*/ 319 h 419"/>
                <a:gd name="T42" fmla="*/ 178 w 522"/>
                <a:gd name="T43" fmla="*/ 319 h 419"/>
                <a:gd name="T44" fmla="*/ 127 w 522"/>
                <a:gd name="T45" fmla="*/ 323 h 419"/>
                <a:gd name="T46" fmla="*/ 109 w 522"/>
                <a:gd name="T47" fmla="*/ 340 h 419"/>
                <a:gd name="T48" fmla="*/ 109 w 522"/>
                <a:gd name="T49" fmla="*/ 365 h 419"/>
                <a:gd name="T50" fmla="*/ 109 w 522"/>
                <a:gd name="T51" fmla="*/ 400 h 419"/>
                <a:gd name="T52" fmla="*/ 109 w 522"/>
                <a:gd name="T53" fmla="*/ 419 h 419"/>
                <a:gd name="T54" fmla="*/ 0 w 522"/>
                <a:gd name="T55" fmla="*/ 411 h 419"/>
                <a:gd name="T56" fmla="*/ 0 w 522"/>
                <a:gd name="T57" fmla="*/ 286 h 419"/>
                <a:gd name="T58" fmla="*/ 11 w 522"/>
                <a:gd name="T59" fmla="*/ 244 h 419"/>
                <a:gd name="T60" fmla="*/ 44 w 522"/>
                <a:gd name="T61" fmla="*/ 219 h 419"/>
                <a:gd name="T62" fmla="*/ 86 w 522"/>
                <a:gd name="T63" fmla="*/ 211 h 419"/>
                <a:gd name="T64" fmla="*/ 253 w 522"/>
                <a:gd name="T65" fmla="*/ 198 h 419"/>
                <a:gd name="T66" fmla="*/ 271 w 522"/>
                <a:gd name="T67" fmla="*/ 144 h 419"/>
                <a:gd name="T68" fmla="*/ 317 w 522"/>
                <a:gd name="T69" fmla="*/ 115 h 419"/>
                <a:gd name="T70" fmla="*/ 317 w 522"/>
                <a:gd name="T71" fmla="*/ 111 h 419"/>
                <a:gd name="T72" fmla="*/ 317 w 522"/>
                <a:gd name="T73" fmla="*/ 86 h 419"/>
                <a:gd name="T74" fmla="*/ 317 w 522"/>
                <a:gd name="T75" fmla="*/ 60 h 419"/>
                <a:gd name="T76" fmla="*/ 315 w 522"/>
                <a:gd name="T77" fmla="*/ 60 h 419"/>
                <a:gd name="T78" fmla="*/ 292 w 522"/>
                <a:gd name="T79" fmla="*/ 60 h 419"/>
                <a:gd name="T80" fmla="*/ 259 w 522"/>
                <a:gd name="T81" fmla="*/ 75 h 419"/>
                <a:gd name="T82" fmla="*/ 211 w 522"/>
                <a:gd name="T83" fmla="*/ 75 h 419"/>
                <a:gd name="T84" fmla="*/ 175 w 522"/>
                <a:gd name="T85" fmla="*/ 54 h 419"/>
                <a:gd name="T86" fmla="*/ 175 w 522"/>
                <a:gd name="T87" fmla="*/ 23 h 419"/>
                <a:gd name="T88" fmla="*/ 211 w 522"/>
                <a:gd name="T89" fmla="*/ 4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22" h="419">
                  <a:moveTo>
                    <a:pt x="238" y="0"/>
                  </a:moveTo>
                  <a:lnTo>
                    <a:pt x="257" y="2"/>
                  </a:lnTo>
                  <a:lnTo>
                    <a:pt x="274" y="6"/>
                  </a:lnTo>
                  <a:lnTo>
                    <a:pt x="290" y="13"/>
                  </a:lnTo>
                  <a:lnTo>
                    <a:pt x="401" y="13"/>
                  </a:lnTo>
                  <a:lnTo>
                    <a:pt x="415" y="6"/>
                  </a:lnTo>
                  <a:lnTo>
                    <a:pt x="434" y="2"/>
                  </a:lnTo>
                  <a:lnTo>
                    <a:pt x="453" y="0"/>
                  </a:lnTo>
                  <a:lnTo>
                    <a:pt x="480" y="4"/>
                  </a:lnTo>
                  <a:lnTo>
                    <a:pt x="501" y="12"/>
                  </a:lnTo>
                  <a:lnTo>
                    <a:pt x="516" y="23"/>
                  </a:lnTo>
                  <a:lnTo>
                    <a:pt x="522" y="38"/>
                  </a:lnTo>
                  <a:lnTo>
                    <a:pt x="516" y="54"/>
                  </a:lnTo>
                  <a:lnTo>
                    <a:pt x="501" y="65"/>
                  </a:lnTo>
                  <a:lnTo>
                    <a:pt x="480" y="75"/>
                  </a:lnTo>
                  <a:lnTo>
                    <a:pt x="453" y="77"/>
                  </a:lnTo>
                  <a:lnTo>
                    <a:pt x="432" y="75"/>
                  </a:lnTo>
                  <a:lnTo>
                    <a:pt x="411" y="69"/>
                  </a:lnTo>
                  <a:lnTo>
                    <a:pt x="397" y="60"/>
                  </a:lnTo>
                  <a:lnTo>
                    <a:pt x="365" y="60"/>
                  </a:lnTo>
                  <a:lnTo>
                    <a:pt x="365" y="60"/>
                  </a:lnTo>
                  <a:lnTo>
                    <a:pt x="365" y="63"/>
                  </a:lnTo>
                  <a:lnTo>
                    <a:pt x="365" y="73"/>
                  </a:lnTo>
                  <a:lnTo>
                    <a:pt x="365" y="88"/>
                  </a:lnTo>
                  <a:lnTo>
                    <a:pt x="365" y="117"/>
                  </a:lnTo>
                  <a:lnTo>
                    <a:pt x="388" y="129"/>
                  </a:lnTo>
                  <a:lnTo>
                    <a:pt x="407" y="146"/>
                  </a:lnTo>
                  <a:lnTo>
                    <a:pt x="418" y="169"/>
                  </a:lnTo>
                  <a:lnTo>
                    <a:pt x="424" y="198"/>
                  </a:lnTo>
                  <a:lnTo>
                    <a:pt x="422" y="204"/>
                  </a:lnTo>
                  <a:lnTo>
                    <a:pt x="420" y="211"/>
                  </a:lnTo>
                  <a:lnTo>
                    <a:pt x="436" y="211"/>
                  </a:lnTo>
                  <a:lnTo>
                    <a:pt x="436" y="211"/>
                  </a:lnTo>
                  <a:lnTo>
                    <a:pt x="436" y="213"/>
                  </a:lnTo>
                  <a:lnTo>
                    <a:pt x="438" y="219"/>
                  </a:lnTo>
                  <a:lnTo>
                    <a:pt x="438" y="231"/>
                  </a:lnTo>
                  <a:lnTo>
                    <a:pt x="438" y="250"/>
                  </a:lnTo>
                  <a:lnTo>
                    <a:pt x="440" y="279"/>
                  </a:lnTo>
                  <a:lnTo>
                    <a:pt x="441" y="319"/>
                  </a:lnTo>
                  <a:lnTo>
                    <a:pt x="434" y="319"/>
                  </a:lnTo>
                  <a:lnTo>
                    <a:pt x="417" y="319"/>
                  </a:lnTo>
                  <a:lnTo>
                    <a:pt x="244" y="319"/>
                  </a:lnTo>
                  <a:lnTo>
                    <a:pt x="209" y="319"/>
                  </a:lnTo>
                  <a:lnTo>
                    <a:pt x="178" y="319"/>
                  </a:lnTo>
                  <a:lnTo>
                    <a:pt x="144" y="319"/>
                  </a:lnTo>
                  <a:lnTo>
                    <a:pt x="127" y="323"/>
                  </a:lnTo>
                  <a:lnTo>
                    <a:pt x="115" y="331"/>
                  </a:lnTo>
                  <a:lnTo>
                    <a:pt x="109" y="340"/>
                  </a:lnTo>
                  <a:lnTo>
                    <a:pt x="109" y="352"/>
                  </a:lnTo>
                  <a:lnTo>
                    <a:pt x="109" y="365"/>
                  </a:lnTo>
                  <a:lnTo>
                    <a:pt x="109" y="382"/>
                  </a:lnTo>
                  <a:lnTo>
                    <a:pt x="109" y="400"/>
                  </a:lnTo>
                  <a:lnTo>
                    <a:pt x="109" y="413"/>
                  </a:lnTo>
                  <a:lnTo>
                    <a:pt x="109" y="419"/>
                  </a:lnTo>
                  <a:lnTo>
                    <a:pt x="0" y="419"/>
                  </a:lnTo>
                  <a:lnTo>
                    <a:pt x="0" y="411"/>
                  </a:lnTo>
                  <a:lnTo>
                    <a:pt x="0" y="396"/>
                  </a:lnTo>
                  <a:lnTo>
                    <a:pt x="0" y="286"/>
                  </a:lnTo>
                  <a:lnTo>
                    <a:pt x="4" y="263"/>
                  </a:lnTo>
                  <a:lnTo>
                    <a:pt x="11" y="244"/>
                  </a:lnTo>
                  <a:lnTo>
                    <a:pt x="27" y="231"/>
                  </a:lnTo>
                  <a:lnTo>
                    <a:pt x="44" y="219"/>
                  </a:lnTo>
                  <a:lnTo>
                    <a:pt x="65" y="213"/>
                  </a:lnTo>
                  <a:lnTo>
                    <a:pt x="86" y="211"/>
                  </a:lnTo>
                  <a:lnTo>
                    <a:pt x="253" y="211"/>
                  </a:lnTo>
                  <a:lnTo>
                    <a:pt x="253" y="198"/>
                  </a:lnTo>
                  <a:lnTo>
                    <a:pt x="257" y="169"/>
                  </a:lnTo>
                  <a:lnTo>
                    <a:pt x="271" y="144"/>
                  </a:lnTo>
                  <a:lnTo>
                    <a:pt x="290" y="125"/>
                  </a:lnTo>
                  <a:lnTo>
                    <a:pt x="317" y="115"/>
                  </a:lnTo>
                  <a:lnTo>
                    <a:pt x="317" y="113"/>
                  </a:lnTo>
                  <a:lnTo>
                    <a:pt x="317" y="111"/>
                  </a:lnTo>
                  <a:lnTo>
                    <a:pt x="317" y="102"/>
                  </a:lnTo>
                  <a:lnTo>
                    <a:pt x="317" y="86"/>
                  </a:lnTo>
                  <a:lnTo>
                    <a:pt x="317" y="60"/>
                  </a:lnTo>
                  <a:lnTo>
                    <a:pt x="317" y="60"/>
                  </a:lnTo>
                  <a:lnTo>
                    <a:pt x="315" y="60"/>
                  </a:lnTo>
                  <a:lnTo>
                    <a:pt x="315" y="60"/>
                  </a:lnTo>
                  <a:lnTo>
                    <a:pt x="311" y="60"/>
                  </a:lnTo>
                  <a:lnTo>
                    <a:pt x="292" y="60"/>
                  </a:lnTo>
                  <a:lnTo>
                    <a:pt x="278" y="69"/>
                  </a:lnTo>
                  <a:lnTo>
                    <a:pt x="259" y="75"/>
                  </a:lnTo>
                  <a:lnTo>
                    <a:pt x="238" y="77"/>
                  </a:lnTo>
                  <a:lnTo>
                    <a:pt x="211" y="75"/>
                  </a:lnTo>
                  <a:lnTo>
                    <a:pt x="190" y="65"/>
                  </a:lnTo>
                  <a:lnTo>
                    <a:pt x="175" y="54"/>
                  </a:lnTo>
                  <a:lnTo>
                    <a:pt x="171" y="38"/>
                  </a:lnTo>
                  <a:lnTo>
                    <a:pt x="175" y="23"/>
                  </a:lnTo>
                  <a:lnTo>
                    <a:pt x="190" y="12"/>
                  </a:lnTo>
                  <a:lnTo>
                    <a:pt x="211" y="4"/>
                  </a:lnTo>
                  <a:lnTo>
                    <a:pt x="23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781" name="Freeform 867"/>
            <p:cNvSpPr>
              <a:spLocks/>
            </p:cNvSpPr>
            <p:nvPr/>
          </p:nvSpPr>
          <p:spPr bwMode="auto">
            <a:xfrm>
              <a:off x="9090909" y="2060359"/>
              <a:ext cx="162657" cy="248614"/>
            </a:xfrm>
            <a:custGeom>
              <a:avLst/>
              <a:gdLst>
                <a:gd name="T0" fmla="*/ 61 w 123"/>
                <a:gd name="T1" fmla="*/ 0 h 188"/>
                <a:gd name="T2" fmla="*/ 63 w 123"/>
                <a:gd name="T3" fmla="*/ 4 h 188"/>
                <a:gd name="T4" fmla="*/ 71 w 123"/>
                <a:gd name="T5" fmla="*/ 13 h 188"/>
                <a:gd name="T6" fmla="*/ 80 w 123"/>
                <a:gd name="T7" fmla="*/ 27 h 188"/>
                <a:gd name="T8" fmla="*/ 92 w 123"/>
                <a:gd name="T9" fmla="*/ 44 h 188"/>
                <a:gd name="T10" fmla="*/ 103 w 123"/>
                <a:gd name="T11" fmla="*/ 63 h 188"/>
                <a:gd name="T12" fmla="*/ 113 w 123"/>
                <a:gd name="T13" fmla="*/ 83 h 188"/>
                <a:gd name="T14" fmla="*/ 121 w 123"/>
                <a:gd name="T15" fmla="*/ 102 h 188"/>
                <a:gd name="T16" fmla="*/ 123 w 123"/>
                <a:gd name="T17" fmla="*/ 117 h 188"/>
                <a:gd name="T18" fmla="*/ 121 w 123"/>
                <a:gd name="T19" fmla="*/ 140 h 188"/>
                <a:gd name="T20" fmla="*/ 113 w 123"/>
                <a:gd name="T21" fmla="*/ 161 h 188"/>
                <a:gd name="T22" fmla="*/ 100 w 123"/>
                <a:gd name="T23" fmla="*/ 177 h 188"/>
                <a:gd name="T24" fmla="*/ 82 w 123"/>
                <a:gd name="T25" fmla="*/ 184 h 188"/>
                <a:gd name="T26" fmla="*/ 61 w 123"/>
                <a:gd name="T27" fmla="*/ 188 h 188"/>
                <a:gd name="T28" fmla="*/ 40 w 123"/>
                <a:gd name="T29" fmla="*/ 186 h 188"/>
                <a:gd name="T30" fmla="*/ 23 w 123"/>
                <a:gd name="T31" fmla="*/ 179 h 188"/>
                <a:gd name="T32" fmla="*/ 9 w 123"/>
                <a:gd name="T33" fmla="*/ 165 h 188"/>
                <a:gd name="T34" fmla="*/ 2 w 123"/>
                <a:gd name="T35" fmla="*/ 144 h 188"/>
                <a:gd name="T36" fmla="*/ 0 w 123"/>
                <a:gd name="T37" fmla="*/ 117 h 188"/>
                <a:gd name="T38" fmla="*/ 2 w 123"/>
                <a:gd name="T39" fmla="*/ 100 h 188"/>
                <a:gd name="T40" fmla="*/ 9 w 123"/>
                <a:gd name="T41" fmla="*/ 81 h 188"/>
                <a:gd name="T42" fmla="*/ 19 w 123"/>
                <a:gd name="T43" fmla="*/ 61 h 188"/>
                <a:gd name="T44" fmla="*/ 30 w 123"/>
                <a:gd name="T45" fmla="*/ 42 h 188"/>
                <a:gd name="T46" fmla="*/ 42 w 123"/>
                <a:gd name="T47" fmla="*/ 27 h 188"/>
                <a:gd name="T48" fmla="*/ 52 w 123"/>
                <a:gd name="T49" fmla="*/ 11 h 188"/>
                <a:gd name="T50" fmla="*/ 59 w 123"/>
                <a:gd name="T51" fmla="*/ 4 h 188"/>
                <a:gd name="T52" fmla="*/ 61 w 123"/>
                <a:gd name="T53" fmla="*/ 0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3" h="188">
                  <a:moveTo>
                    <a:pt x="61" y="0"/>
                  </a:moveTo>
                  <a:lnTo>
                    <a:pt x="63" y="4"/>
                  </a:lnTo>
                  <a:lnTo>
                    <a:pt x="71" y="13"/>
                  </a:lnTo>
                  <a:lnTo>
                    <a:pt x="80" y="27"/>
                  </a:lnTo>
                  <a:lnTo>
                    <a:pt x="92" y="44"/>
                  </a:lnTo>
                  <a:lnTo>
                    <a:pt x="103" y="63"/>
                  </a:lnTo>
                  <a:lnTo>
                    <a:pt x="113" y="83"/>
                  </a:lnTo>
                  <a:lnTo>
                    <a:pt x="121" y="102"/>
                  </a:lnTo>
                  <a:lnTo>
                    <a:pt x="123" y="117"/>
                  </a:lnTo>
                  <a:lnTo>
                    <a:pt x="121" y="140"/>
                  </a:lnTo>
                  <a:lnTo>
                    <a:pt x="113" y="161"/>
                  </a:lnTo>
                  <a:lnTo>
                    <a:pt x="100" y="177"/>
                  </a:lnTo>
                  <a:lnTo>
                    <a:pt x="82" y="184"/>
                  </a:lnTo>
                  <a:lnTo>
                    <a:pt x="61" y="188"/>
                  </a:lnTo>
                  <a:lnTo>
                    <a:pt x="40" y="186"/>
                  </a:lnTo>
                  <a:lnTo>
                    <a:pt x="23" y="179"/>
                  </a:lnTo>
                  <a:lnTo>
                    <a:pt x="9" y="165"/>
                  </a:lnTo>
                  <a:lnTo>
                    <a:pt x="2" y="144"/>
                  </a:lnTo>
                  <a:lnTo>
                    <a:pt x="0" y="117"/>
                  </a:lnTo>
                  <a:lnTo>
                    <a:pt x="2" y="100"/>
                  </a:lnTo>
                  <a:lnTo>
                    <a:pt x="9" y="81"/>
                  </a:lnTo>
                  <a:lnTo>
                    <a:pt x="19" y="61"/>
                  </a:lnTo>
                  <a:lnTo>
                    <a:pt x="30" y="42"/>
                  </a:lnTo>
                  <a:lnTo>
                    <a:pt x="42" y="27"/>
                  </a:lnTo>
                  <a:lnTo>
                    <a:pt x="52" y="11"/>
                  </a:lnTo>
                  <a:lnTo>
                    <a:pt x="59" y="4"/>
                  </a:lnTo>
                  <a:lnTo>
                    <a:pt x="6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nvGrpSpPr>
          <p:cNvPr id="4782" name="Group 4781"/>
          <p:cNvGrpSpPr/>
          <p:nvPr/>
        </p:nvGrpSpPr>
        <p:grpSpPr>
          <a:xfrm>
            <a:off x="1224642" y="1589457"/>
            <a:ext cx="592847" cy="485800"/>
            <a:chOff x="474277" y="1629589"/>
            <a:chExt cx="592847" cy="485800"/>
          </a:xfrm>
          <a:solidFill>
            <a:schemeClr val="bg1"/>
          </a:solidFill>
        </p:grpSpPr>
        <p:sp>
          <p:nvSpPr>
            <p:cNvPr id="4783" name="Rounded Rectangle 4782"/>
            <p:cNvSpPr/>
            <p:nvPr/>
          </p:nvSpPr>
          <p:spPr bwMode="auto">
            <a:xfrm flipH="1">
              <a:off x="511468" y="2002763"/>
              <a:ext cx="330259" cy="106092"/>
            </a:xfrm>
            <a:prstGeom prst="roundRect">
              <a:avLst/>
            </a:prstGeom>
            <a:grpFill/>
            <a:ln w="3175" cap="flat" cmpd="sng" algn="ctr">
              <a:solidFill>
                <a:srgbClr val="33A4C4"/>
              </a:solidFill>
              <a:prstDash val="solid"/>
              <a:headEnd type="none" w="med" len="med"/>
              <a:tailEnd type="none" w="med" len="med"/>
            </a:ln>
            <a:effectLst/>
          </p:spPr>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algn="ctr" defTabSz="932202" fontAlgn="base">
                <a:spcBef>
                  <a:spcPct val="0"/>
                </a:spcBef>
                <a:spcAft>
                  <a:spcPct val="0"/>
                </a:spcAft>
                <a:defRPr/>
              </a:pPr>
              <a:endParaRPr lang="en-US" b="1"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4784" name="Rectangle 4783"/>
            <p:cNvSpPr/>
            <p:nvPr/>
          </p:nvSpPr>
          <p:spPr bwMode="auto">
            <a:xfrm rot="19233811" flipH="1">
              <a:off x="640337" y="1949995"/>
              <a:ext cx="70664" cy="91137"/>
            </a:xfrm>
            <a:prstGeom prst="rect">
              <a:avLst/>
            </a:prstGeom>
            <a:grpFill/>
            <a:ln w="3175" cap="flat" cmpd="sng" algn="ctr">
              <a:solidFill>
                <a:srgbClr val="33A4C4"/>
              </a:solidFill>
              <a:prstDash val="solid"/>
              <a:headEnd type="none" w="med" len="med"/>
              <a:tailEnd type="none" w="med" len="med"/>
            </a:ln>
            <a:effectLst/>
          </p:spPr>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algn="ctr" defTabSz="932202" fontAlgn="base">
                <a:spcBef>
                  <a:spcPct val="0"/>
                </a:spcBef>
                <a:spcAft>
                  <a:spcPct val="0"/>
                </a:spcAft>
                <a:defRPr/>
              </a:pPr>
              <a:endParaRPr lang="en-US" b="1"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4785" name="Rectangle 21"/>
            <p:cNvSpPr/>
            <p:nvPr/>
          </p:nvSpPr>
          <p:spPr bwMode="auto">
            <a:xfrm rot="1663182" flipH="1">
              <a:off x="637338" y="1674201"/>
              <a:ext cx="75382" cy="203695"/>
            </a:xfrm>
            <a:custGeom>
              <a:avLst/>
              <a:gdLst>
                <a:gd name="connsiteX0" fmla="*/ 0 w 158225"/>
                <a:gd name="connsiteY0" fmla="*/ 0 h 494769"/>
                <a:gd name="connsiteX1" fmla="*/ 158225 w 158225"/>
                <a:gd name="connsiteY1" fmla="*/ 0 h 494769"/>
                <a:gd name="connsiteX2" fmla="*/ 158225 w 158225"/>
                <a:gd name="connsiteY2" fmla="*/ 494769 h 494769"/>
                <a:gd name="connsiteX3" fmla="*/ 0 w 158225"/>
                <a:gd name="connsiteY3" fmla="*/ 494769 h 494769"/>
                <a:gd name="connsiteX4" fmla="*/ 0 w 158225"/>
                <a:gd name="connsiteY4" fmla="*/ 0 h 494769"/>
                <a:gd name="connsiteX0" fmla="*/ 22401 w 158225"/>
                <a:gd name="connsiteY0" fmla="*/ 0 h 496448"/>
                <a:gd name="connsiteX1" fmla="*/ 158225 w 158225"/>
                <a:gd name="connsiteY1" fmla="*/ 1679 h 496448"/>
                <a:gd name="connsiteX2" fmla="*/ 158225 w 158225"/>
                <a:gd name="connsiteY2" fmla="*/ 496448 h 496448"/>
                <a:gd name="connsiteX3" fmla="*/ 0 w 158225"/>
                <a:gd name="connsiteY3" fmla="*/ 496448 h 496448"/>
                <a:gd name="connsiteX4" fmla="*/ 22401 w 158225"/>
                <a:gd name="connsiteY4" fmla="*/ 0 h 496448"/>
                <a:gd name="connsiteX0" fmla="*/ 22401 w 193060"/>
                <a:gd name="connsiteY0" fmla="*/ 0 h 512062"/>
                <a:gd name="connsiteX1" fmla="*/ 158225 w 193060"/>
                <a:gd name="connsiteY1" fmla="*/ 1679 h 512062"/>
                <a:gd name="connsiteX2" fmla="*/ 193060 w 193060"/>
                <a:gd name="connsiteY2" fmla="*/ 512062 h 512062"/>
                <a:gd name="connsiteX3" fmla="*/ 0 w 193060"/>
                <a:gd name="connsiteY3" fmla="*/ 496448 h 512062"/>
                <a:gd name="connsiteX4" fmla="*/ 22401 w 193060"/>
                <a:gd name="connsiteY4" fmla="*/ 0 h 512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060" h="512062">
                  <a:moveTo>
                    <a:pt x="22401" y="0"/>
                  </a:moveTo>
                  <a:lnTo>
                    <a:pt x="158225" y="1679"/>
                  </a:lnTo>
                  <a:lnTo>
                    <a:pt x="193060" y="512062"/>
                  </a:lnTo>
                  <a:lnTo>
                    <a:pt x="0" y="496448"/>
                  </a:lnTo>
                  <a:lnTo>
                    <a:pt x="22401" y="0"/>
                  </a:lnTo>
                  <a:close/>
                </a:path>
              </a:pathLst>
            </a:custGeom>
            <a:grpFill/>
            <a:ln w="3175" cap="flat" cmpd="sng" algn="ctr">
              <a:solidFill>
                <a:srgbClr val="33A4C4"/>
              </a:solidFill>
              <a:prstDash val="solid"/>
              <a:headEnd type="none" w="med" len="med"/>
              <a:tailEnd type="none" w="med" len="med"/>
            </a:ln>
            <a:effectLst/>
          </p:spPr>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algn="ctr" defTabSz="932202" fontAlgn="base">
                <a:spcBef>
                  <a:spcPct val="0"/>
                </a:spcBef>
                <a:spcAft>
                  <a:spcPct val="0"/>
                </a:spcAft>
                <a:defRPr/>
              </a:pPr>
              <a:endParaRPr lang="en-US" b="1"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4786" name="Rounded Rectangle 4785"/>
            <p:cNvSpPr/>
            <p:nvPr/>
          </p:nvSpPr>
          <p:spPr bwMode="auto">
            <a:xfrm flipH="1">
              <a:off x="474277" y="2055809"/>
              <a:ext cx="404642" cy="59580"/>
            </a:xfrm>
            <a:prstGeom prst="roundRect">
              <a:avLst/>
            </a:prstGeom>
            <a:grpFill/>
            <a:ln w="3175" cap="flat" cmpd="sng" algn="ctr">
              <a:solidFill>
                <a:srgbClr val="33A4C4"/>
              </a:solidFill>
              <a:prstDash val="solid"/>
              <a:headEnd type="none" w="med" len="med"/>
              <a:tailEnd type="none" w="med" len="med"/>
            </a:ln>
            <a:effectLst/>
          </p:spPr>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algn="ctr" defTabSz="932202" fontAlgn="base">
                <a:spcBef>
                  <a:spcPct val="0"/>
                </a:spcBef>
                <a:spcAft>
                  <a:spcPct val="0"/>
                </a:spcAft>
                <a:defRPr/>
              </a:pPr>
              <a:endParaRPr lang="en-US" b="1"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4787" name="Oval 4786"/>
            <p:cNvSpPr/>
            <p:nvPr/>
          </p:nvSpPr>
          <p:spPr bwMode="auto">
            <a:xfrm flipH="1">
              <a:off x="540477" y="1844555"/>
              <a:ext cx="137524" cy="140107"/>
            </a:xfrm>
            <a:prstGeom prst="ellipse">
              <a:avLst/>
            </a:prstGeom>
            <a:grpFill/>
            <a:ln w="3175" cap="flat" cmpd="sng" algn="ctr">
              <a:solidFill>
                <a:srgbClr val="33A4C4"/>
              </a:solidFill>
              <a:prstDash val="solid"/>
              <a:headEnd type="none" w="med" len="med"/>
              <a:tailEnd type="none" w="med" len="med"/>
            </a:ln>
            <a:effectLst/>
          </p:spPr>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algn="ctr" defTabSz="932202" fontAlgn="base">
                <a:spcBef>
                  <a:spcPct val="0"/>
                </a:spcBef>
                <a:spcAft>
                  <a:spcPct val="0"/>
                </a:spcAft>
                <a:defRPr/>
              </a:pPr>
              <a:endParaRPr lang="en-US" b="1" kern="0" spc="-51"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788" name="Group 4787"/>
            <p:cNvGrpSpPr/>
            <p:nvPr/>
          </p:nvGrpSpPr>
          <p:grpSpPr>
            <a:xfrm rot="1800000">
              <a:off x="714371" y="1755022"/>
              <a:ext cx="239025" cy="106462"/>
              <a:chOff x="3547456" y="4533071"/>
              <a:chExt cx="612164" cy="267636"/>
            </a:xfrm>
            <a:grpFill/>
          </p:grpSpPr>
          <p:sp>
            <p:nvSpPr>
              <p:cNvPr id="4795" name="Rectangle 29"/>
              <p:cNvSpPr/>
              <p:nvPr/>
            </p:nvSpPr>
            <p:spPr bwMode="auto">
              <a:xfrm rot="6300000" flipH="1">
                <a:off x="3724636" y="4355891"/>
                <a:ext cx="146572" cy="500932"/>
              </a:xfrm>
              <a:custGeom>
                <a:avLst/>
                <a:gdLst>
                  <a:gd name="connsiteX0" fmla="*/ 0 w 123571"/>
                  <a:gd name="connsiteY0" fmla="*/ 0 h 494769"/>
                  <a:gd name="connsiteX1" fmla="*/ 123571 w 123571"/>
                  <a:gd name="connsiteY1" fmla="*/ 0 h 494769"/>
                  <a:gd name="connsiteX2" fmla="*/ 123571 w 123571"/>
                  <a:gd name="connsiteY2" fmla="*/ 494769 h 494769"/>
                  <a:gd name="connsiteX3" fmla="*/ 0 w 123571"/>
                  <a:gd name="connsiteY3" fmla="*/ 494769 h 494769"/>
                  <a:gd name="connsiteX4" fmla="*/ 0 w 123571"/>
                  <a:gd name="connsiteY4" fmla="*/ 0 h 494769"/>
                  <a:gd name="connsiteX0" fmla="*/ 0 w 146572"/>
                  <a:gd name="connsiteY0" fmla="*/ 0 h 500932"/>
                  <a:gd name="connsiteX1" fmla="*/ 123571 w 146572"/>
                  <a:gd name="connsiteY1" fmla="*/ 0 h 500932"/>
                  <a:gd name="connsiteX2" fmla="*/ 146572 w 146572"/>
                  <a:gd name="connsiteY2" fmla="*/ 500932 h 500932"/>
                  <a:gd name="connsiteX3" fmla="*/ 0 w 146572"/>
                  <a:gd name="connsiteY3" fmla="*/ 494769 h 500932"/>
                  <a:gd name="connsiteX4" fmla="*/ 0 w 146572"/>
                  <a:gd name="connsiteY4" fmla="*/ 0 h 500932"/>
                  <a:gd name="connsiteX0" fmla="*/ 23002 w 146572"/>
                  <a:gd name="connsiteY0" fmla="*/ 6163 h 500932"/>
                  <a:gd name="connsiteX1" fmla="*/ 123571 w 146572"/>
                  <a:gd name="connsiteY1" fmla="*/ 0 h 500932"/>
                  <a:gd name="connsiteX2" fmla="*/ 146572 w 146572"/>
                  <a:gd name="connsiteY2" fmla="*/ 500932 h 500932"/>
                  <a:gd name="connsiteX3" fmla="*/ 0 w 146572"/>
                  <a:gd name="connsiteY3" fmla="*/ 494769 h 500932"/>
                  <a:gd name="connsiteX4" fmla="*/ 23002 w 146572"/>
                  <a:gd name="connsiteY4" fmla="*/ 6163 h 5009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572" h="500932">
                    <a:moveTo>
                      <a:pt x="23002" y="6163"/>
                    </a:moveTo>
                    <a:lnTo>
                      <a:pt x="123571" y="0"/>
                    </a:lnTo>
                    <a:lnTo>
                      <a:pt x="146572" y="500932"/>
                    </a:lnTo>
                    <a:lnTo>
                      <a:pt x="0" y="494769"/>
                    </a:lnTo>
                    <a:lnTo>
                      <a:pt x="23002" y="6163"/>
                    </a:lnTo>
                    <a:close/>
                  </a:path>
                </a:pathLst>
              </a:custGeom>
              <a:grpFill/>
              <a:ln w="3175" cap="flat" cmpd="sng" algn="ctr">
                <a:solidFill>
                  <a:srgbClr val="33A4C4"/>
                </a:solidFill>
                <a:prstDash val="solid"/>
                <a:headEnd type="none" w="med" len="med"/>
                <a:tailEnd type="none" w="med" len="med"/>
              </a:ln>
              <a:effectLst/>
            </p:spPr>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algn="ctr" defTabSz="932202" fontAlgn="base">
                  <a:spcBef>
                    <a:spcPct val="0"/>
                  </a:spcBef>
                  <a:spcAft>
                    <a:spcPct val="0"/>
                  </a:spcAft>
                  <a:defRPr/>
                </a:pPr>
                <a:endParaRPr lang="en-US" b="1"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4796" name="Oval 4795"/>
              <p:cNvSpPr/>
              <p:nvPr/>
            </p:nvSpPr>
            <p:spPr bwMode="auto">
              <a:xfrm flipH="1">
                <a:off x="3967596" y="4608682"/>
                <a:ext cx="192024" cy="192025"/>
              </a:xfrm>
              <a:prstGeom prst="ellipse">
                <a:avLst/>
              </a:prstGeom>
              <a:grpFill/>
              <a:ln w="3175" cap="flat" cmpd="sng" algn="ctr">
                <a:solidFill>
                  <a:srgbClr val="33A4C4"/>
                </a:solidFill>
                <a:prstDash val="solid"/>
                <a:headEnd type="none" w="med" len="med"/>
                <a:tailEnd type="none" w="med" len="med"/>
              </a:ln>
              <a:effectLst/>
            </p:spPr>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algn="ctr" defTabSz="932202" fontAlgn="base">
                  <a:spcBef>
                    <a:spcPct val="0"/>
                  </a:spcBef>
                  <a:spcAft>
                    <a:spcPct val="0"/>
                  </a:spcAft>
                  <a:defRPr/>
                </a:pPr>
                <a:endParaRPr lang="en-US" b="1" kern="0" spc="-51"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4789" name="Rectangle 4788"/>
            <p:cNvSpPr/>
            <p:nvPr/>
          </p:nvSpPr>
          <p:spPr bwMode="auto">
            <a:xfrm>
              <a:off x="960012" y="1761977"/>
              <a:ext cx="17852" cy="211616"/>
            </a:xfrm>
            <a:prstGeom prst="rect">
              <a:avLst/>
            </a:prstGeom>
            <a:grpFill/>
            <a:ln w="3175" cap="flat" cmpd="sng" algn="ctr">
              <a:solidFill>
                <a:srgbClr val="33A4C4"/>
              </a:solidFill>
              <a:prstDash val="solid"/>
              <a:headEnd type="none" w="med" len="med"/>
              <a:tailEnd type="none" w="med" len="med"/>
            </a:ln>
            <a:effectLst/>
          </p:spPr>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algn="ctr" defTabSz="932202" fontAlgn="base">
                <a:spcBef>
                  <a:spcPct val="0"/>
                </a:spcBef>
                <a:spcAft>
                  <a:spcPct val="0"/>
                </a:spcAft>
                <a:defRPr/>
              </a:pPr>
              <a:endParaRPr lang="en-US" b="1"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4790" name="Rectangle 4789"/>
            <p:cNvSpPr/>
            <p:nvPr/>
          </p:nvSpPr>
          <p:spPr bwMode="auto">
            <a:xfrm rot="16200000">
              <a:off x="1004475" y="1910943"/>
              <a:ext cx="18187" cy="107111"/>
            </a:xfrm>
            <a:prstGeom prst="rect">
              <a:avLst/>
            </a:prstGeom>
            <a:grpFill/>
            <a:ln w="3175" cap="flat" cmpd="sng" algn="ctr">
              <a:solidFill>
                <a:srgbClr val="33A4C4"/>
              </a:solidFill>
              <a:prstDash val="solid"/>
              <a:headEnd type="none" w="med" len="med"/>
              <a:tailEnd type="none" w="med" len="med"/>
            </a:ln>
            <a:effectLst/>
          </p:spPr>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algn="ctr" defTabSz="932202" fontAlgn="base">
                <a:spcBef>
                  <a:spcPct val="0"/>
                </a:spcBef>
                <a:spcAft>
                  <a:spcPct val="0"/>
                </a:spcAft>
                <a:defRPr/>
              </a:pPr>
              <a:endParaRPr lang="en-US" b="1"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4791" name="Rectangle 4790"/>
            <p:cNvSpPr/>
            <p:nvPr/>
          </p:nvSpPr>
          <p:spPr bwMode="auto">
            <a:xfrm rot="5400000" flipH="1">
              <a:off x="924944" y="1844835"/>
              <a:ext cx="38474" cy="34142"/>
            </a:xfrm>
            <a:prstGeom prst="rect">
              <a:avLst/>
            </a:prstGeom>
            <a:grpFill/>
            <a:ln w="3175" cap="flat" cmpd="sng" algn="ctr">
              <a:solidFill>
                <a:srgbClr val="33A4C4"/>
              </a:solidFill>
              <a:prstDash val="solid"/>
              <a:headEnd type="none" w="med" len="med"/>
              <a:tailEnd type="none" w="med" len="med"/>
            </a:ln>
            <a:effectLst/>
          </p:spPr>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algn="ctr" defTabSz="932202" fontAlgn="base">
                <a:spcBef>
                  <a:spcPct val="0"/>
                </a:spcBef>
                <a:spcAft>
                  <a:spcPct val="0"/>
                </a:spcAft>
                <a:defRPr/>
              </a:pPr>
              <a:endParaRPr lang="en-US" b="1"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4792" name="Rectangle 4791"/>
            <p:cNvSpPr/>
            <p:nvPr/>
          </p:nvSpPr>
          <p:spPr bwMode="auto">
            <a:xfrm>
              <a:off x="988056" y="1786144"/>
              <a:ext cx="73143" cy="74517"/>
            </a:xfrm>
            <a:prstGeom prst="rect">
              <a:avLst/>
            </a:prstGeom>
            <a:grpFill/>
            <a:ln w="3175" cap="flat" cmpd="sng" algn="ctr">
              <a:solidFill>
                <a:srgbClr val="33A4C4"/>
              </a:solidFill>
              <a:prstDash val="solid"/>
              <a:headEnd type="none" w="med" len="med"/>
              <a:tailEnd type="none" w="med" len="med"/>
            </a:ln>
            <a:effectLst/>
          </p:spPr>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algn="ctr" defTabSz="932202" fontAlgn="base">
                <a:spcBef>
                  <a:spcPct val="0"/>
                </a:spcBef>
                <a:spcAft>
                  <a:spcPct val="0"/>
                </a:spcAft>
                <a:defRPr/>
              </a:pPr>
              <a:endParaRPr lang="en-US" b="1"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4793" name="Rectangle 4792"/>
            <p:cNvSpPr/>
            <p:nvPr/>
          </p:nvSpPr>
          <p:spPr bwMode="auto">
            <a:xfrm>
              <a:off x="988056" y="1873390"/>
              <a:ext cx="73143" cy="74517"/>
            </a:xfrm>
            <a:prstGeom prst="rect">
              <a:avLst/>
            </a:prstGeom>
            <a:grpFill/>
            <a:ln w="3175" cap="flat" cmpd="sng" algn="ctr">
              <a:solidFill>
                <a:srgbClr val="33A4C4"/>
              </a:solidFill>
              <a:prstDash val="solid"/>
              <a:headEnd type="none" w="med" len="med"/>
              <a:tailEnd type="none" w="med" len="med"/>
            </a:ln>
            <a:effectLst/>
          </p:spPr>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algn="ctr" defTabSz="932202" fontAlgn="base">
                <a:spcBef>
                  <a:spcPct val="0"/>
                </a:spcBef>
                <a:spcAft>
                  <a:spcPct val="0"/>
                </a:spcAft>
                <a:defRPr/>
              </a:pPr>
              <a:endParaRPr lang="en-US" b="1" kern="0"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4794" name="Oval 4793"/>
            <p:cNvSpPr/>
            <p:nvPr/>
          </p:nvSpPr>
          <p:spPr bwMode="auto">
            <a:xfrm flipH="1">
              <a:off x="682314" y="1629589"/>
              <a:ext cx="99971" cy="101849"/>
            </a:xfrm>
            <a:prstGeom prst="ellipse">
              <a:avLst/>
            </a:prstGeom>
            <a:grpFill/>
            <a:ln w="3175" cap="flat" cmpd="sng" algn="ctr">
              <a:solidFill>
                <a:srgbClr val="33A4C4"/>
              </a:solidFill>
              <a:prstDash val="solid"/>
              <a:headEnd type="none" w="med" len="med"/>
              <a:tailEnd type="none" w="med" len="med"/>
            </a:ln>
            <a:effectLst/>
          </p:spPr>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algn="ctr" defTabSz="932202" fontAlgn="base">
                <a:spcBef>
                  <a:spcPct val="0"/>
                </a:spcBef>
                <a:spcAft>
                  <a:spcPct val="0"/>
                </a:spcAft>
                <a:defRPr/>
              </a:pPr>
              <a:endParaRPr lang="en-US" b="1" kern="0" spc="-51"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4797" name="Rectangle 35"/>
          <p:cNvSpPr>
            <a:spLocks noChangeAspect="1"/>
          </p:cNvSpPr>
          <p:nvPr/>
        </p:nvSpPr>
        <p:spPr bwMode="auto">
          <a:xfrm>
            <a:off x="4771631" y="1865774"/>
            <a:ext cx="714500" cy="443641"/>
          </a:xfrm>
          <a:custGeom>
            <a:avLst/>
            <a:gdLst/>
            <a:ahLst/>
            <a:cxnLst/>
            <a:rect l="l" t="t" r="r" b="b"/>
            <a:pathLst>
              <a:path w="4203700" h="2610803">
                <a:moveTo>
                  <a:pt x="2491581" y="932635"/>
                </a:moveTo>
                <a:lnTo>
                  <a:pt x="3355975" y="932635"/>
                </a:lnTo>
                <a:cubicBezTo>
                  <a:pt x="3634582" y="947716"/>
                  <a:pt x="3829843" y="1131866"/>
                  <a:pt x="3863181" y="1242197"/>
                </a:cubicBezTo>
                <a:lnTo>
                  <a:pt x="1996281" y="1242197"/>
                </a:lnTo>
                <a:cubicBezTo>
                  <a:pt x="1954212" y="1129485"/>
                  <a:pt x="2235993" y="921522"/>
                  <a:pt x="2491581" y="932635"/>
                </a:cubicBezTo>
                <a:close/>
                <a:moveTo>
                  <a:pt x="1715294" y="801666"/>
                </a:moveTo>
                <a:cubicBezTo>
                  <a:pt x="1834971" y="801666"/>
                  <a:pt x="1931988" y="898683"/>
                  <a:pt x="1931988" y="1018360"/>
                </a:cubicBezTo>
                <a:cubicBezTo>
                  <a:pt x="1931988" y="1138037"/>
                  <a:pt x="1834971" y="1235054"/>
                  <a:pt x="1715294" y="1235054"/>
                </a:cubicBezTo>
                <a:cubicBezTo>
                  <a:pt x="1595617" y="1235054"/>
                  <a:pt x="1498600" y="1138037"/>
                  <a:pt x="1498600" y="1018360"/>
                </a:cubicBezTo>
                <a:cubicBezTo>
                  <a:pt x="1498600" y="898683"/>
                  <a:pt x="1595617" y="801666"/>
                  <a:pt x="1715294" y="801666"/>
                </a:cubicBezTo>
                <a:close/>
                <a:moveTo>
                  <a:pt x="1919287" y="0"/>
                </a:moveTo>
                <a:cubicBezTo>
                  <a:pt x="2448028" y="0"/>
                  <a:pt x="2898259" y="336140"/>
                  <a:pt x="3066567" y="806877"/>
                </a:cubicBezTo>
                <a:lnTo>
                  <a:pt x="2520890" y="806877"/>
                </a:lnTo>
                <a:cubicBezTo>
                  <a:pt x="2388025" y="637288"/>
                  <a:pt x="2180846" y="530203"/>
                  <a:pt x="1948656" y="530203"/>
                </a:cubicBezTo>
                <a:cubicBezTo>
                  <a:pt x="1540528" y="530203"/>
                  <a:pt x="1209675" y="861056"/>
                  <a:pt x="1209675" y="1269184"/>
                </a:cubicBezTo>
                <a:cubicBezTo>
                  <a:pt x="1209675" y="1295733"/>
                  <a:pt x="1211075" y="1321956"/>
                  <a:pt x="1213952" y="1347766"/>
                </a:cubicBezTo>
                <a:lnTo>
                  <a:pt x="4203700" y="1347766"/>
                </a:lnTo>
                <a:lnTo>
                  <a:pt x="4203700" y="1622086"/>
                </a:lnTo>
                <a:lnTo>
                  <a:pt x="1303168" y="1622086"/>
                </a:lnTo>
                <a:cubicBezTo>
                  <a:pt x="1425647" y="1852836"/>
                  <a:pt x="1669012" y="2008165"/>
                  <a:pt x="1948656" y="2008165"/>
                </a:cubicBezTo>
                <a:cubicBezTo>
                  <a:pt x="2180846" y="2008165"/>
                  <a:pt x="2388025" y="1901080"/>
                  <a:pt x="2520889" y="1731492"/>
                </a:cubicBezTo>
                <a:lnTo>
                  <a:pt x="3140075" y="1731492"/>
                </a:lnTo>
                <a:cubicBezTo>
                  <a:pt x="3140075" y="2024596"/>
                  <a:pt x="3140074" y="2317700"/>
                  <a:pt x="3140074" y="2610803"/>
                </a:cubicBezTo>
                <a:lnTo>
                  <a:pt x="698499" y="2610803"/>
                </a:lnTo>
                <a:lnTo>
                  <a:pt x="698499" y="1622086"/>
                </a:lnTo>
                <a:lnTo>
                  <a:pt x="0" y="1622086"/>
                </a:lnTo>
                <a:lnTo>
                  <a:pt x="0" y="1347766"/>
                </a:lnTo>
                <a:lnTo>
                  <a:pt x="698499" y="1347766"/>
                </a:lnTo>
                <a:lnTo>
                  <a:pt x="698499" y="1220788"/>
                </a:lnTo>
                <a:cubicBezTo>
                  <a:pt x="698499" y="546565"/>
                  <a:pt x="1245064" y="0"/>
                  <a:pt x="1919287"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a:gradFill>
                <a:gsLst>
                  <a:gs pos="0">
                    <a:srgbClr val="FFFFFF"/>
                  </a:gs>
                  <a:gs pos="100000">
                    <a:srgbClr val="FFFFFF"/>
                  </a:gs>
                </a:gsLst>
                <a:lin ang="5400000" scaled="0"/>
              </a:gradFill>
              <a:ea typeface="Segoe UI" pitchFamily="34" charset="0"/>
              <a:cs typeface="Segoe UI" pitchFamily="34" charset="0"/>
            </a:endParaRPr>
          </a:p>
        </p:txBody>
      </p:sp>
      <p:sp>
        <p:nvSpPr>
          <p:cNvPr id="4798" name="Rectangle 25"/>
          <p:cNvSpPr>
            <a:spLocks noChangeAspect="1"/>
          </p:cNvSpPr>
          <p:nvPr/>
        </p:nvSpPr>
        <p:spPr bwMode="auto">
          <a:xfrm>
            <a:off x="3698435" y="2480314"/>
            <a:ext cx="418410" cy="289778"/>
          </a:xfrm>
          <a:custGeom>
            <a:avLst/>
            <a:gdLst/>
            <a:ahLst/>
            <a:cxnLst/>
            <a:rect l="l" t="t" r="r" b="b"/>
            <a:pathLst>
              <a:path w="2953954" h="2046352">
                <a:moveTo>
                  <a:pt x="2765016" y="1281519"/>
                </a:moveTo>
                <a:lnTo>
                  <a:pt x="2953954" y="1281519"/>
                </a:lnTo>
                <a:lnTo>
                  <a:pt x="2953954" y="2046352"/>
                </a:lnTo>
                <a:lnTo>
                  <a:pt x="2765016" y="2046352"/>
                </a:lnTo>
                <a:close/>
                <a:moveTo>
                  <a:pt x="2620827" y="1281519"/>
                </a:moveTo>
                <a:lnTo>
                  <a:pt x="2712607" y="1281519"/>
                </a:lnTo>
                <a:lnTo>
                  <a:pt x="2712607" y="2046352"/>
                </a:lnTo>
                <a:lnTo>
                  <a:pt x="2620827" y="2046352"/>
                </a:lnTo>
                <a:close/>
                <a:moveTo>
                  <a:pt x="2223114" y="1281519"/>
                </a:moveTo>
                <a:lnTo>
                  <a:pt x="2314894" y="1281519"/>
                </a:lnTo>
                <a:lnTo>
                  <a:pt x="2314894" y="2046352"/>
                </a:lnTo>
                <a:lnTo>
                  <a:pt x="2223114" y="2046352"/>
                </a:lnTo>
                <a:close/>
                <a:moveTo>
                  <a:pt x="1923980" y="1281519"/>
                </a:moveTo>
                <a:lnTo>
                  <a:pt x="2015760" y="1281519"/>
                </a:lnTo>
                <a:lnTo>
                  <a:pt x="2015760" y="2046352"/>
                </a:lnTo>
                <a:lnTo>
                  <a:pt x="1923980" y="2046352"/>
                </a:lnTo>
                <a:close/>
                <a:moveTo>
                  <a:pt x="1648639" y="1281519"/>
                </a:moveTo>
                <a:lnTo>
                  <a:pt x="1869590" y="1281519"/>
                </a:lnTo>
                <a:lnTo>
                  <a:pt x="1869590" y="2046352"/>
                </a:lnTo>
                <a:lnTo>
                  <a:pt x="1648639" y="2046352"/>
                </a:lnTo>
                <a:close/>
                <a:moveTo>
                  <a:pt x="1531611" y="1281519"/>
                </a:moveTo>
                <a:lnTo>
                  <a:pt x="1621444" y="1281519"/>
                </a:lnTo>
                <a:lnTo>
                  <a:pt x="1621444" y="2046352"/>
                </a:lnTo>
                <a:lnTo>
                  <a:pt x="1531611" y="2046352"/>
                </a:lnTo>
                <a:close/>
                <a:moveTo>
                  <a:pt x="0" y="0"/>
                </a:moveTo>
                <a:lnTo>
                  <a:pt x="2947156" y="0"/>
                </a:lnTo>
                <a:lnTo>
                  <a:pt x="2953954" y="363720"/>
                </a:lnTo>
                <a:lnTo>
                  <a:pt x="2648021" y="1009579"/>
                </a:lnTo>
                <a:lnTo>
                  <a:pt x="1407293" y="1009579"/>
                </a:lnTo>
                <a:lnTo>
                  <a:pt x="1233930" y="1346105"/>
                </a:lnTo>
                <a:lnTo>
                  <a:pt x="1094561" y="1305314"/>
                </a:lnTo>
                <a:lnTo>
                  <a:pt x="815822" y="2029356"/>
                </a:lnTo>
                <a:lnTo>
                  <a:pt x="370519" y="2046352"/>
                </a:lnTo>
                <a:lnTo>
                  <a:pt x="608467" y="1026575"/>
                </a:lnTo>
                <a:lnTo>
                  <a:pt x="0" y="1026575"/>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500" spc="-50" dirty="0" err="1">
              <a:solidFill>
                <a:srgbClr val="00BCF2"/>
              </a:solidFill>
              <a:ea typeface="Segoe UI" pitchFamily="34" charset="0"/>
              <a:cs typeface="Segoe UI" pitchFamily="34" charset="0"/>
            </a:endParaRPr>
          </a:p>
        </p:txBody>
      </p:sp>
      <p:sp>
        <p:nvSpPr>
          <p:cNvPr id="4799" name="Freeform 4798"/>
          <p:cNvSpPr>
            <a:spLocks noChangeAspect="1"/>
          </p:cNvSpPr>
          <p:nvPr/>
        </p:nvSpPr>
        <p:spPr bwMode="auto">
          <a:xfrm>
            <a:off x="1050512" y="3382393"/>
            <a:ext cx="402676" cy="394356"/>
          </a:xfrm>
          <a:custGeom>
            <a:avLst/>
            <a:gdLst/>
            <a:ahLst/>
            <a:cxnLst/>
            <a:rect l="l" t="t" r="r" b="b"/>
            <a:pathLst>
              <a:path w="2765779" h="2709334">
                <a:moveTo>
                  <a:pt x="2665062" y="2328296"/>
                </a:moveTo>
                <a:lnTo>
                  <a:pt x="1426344" y="2380683"/>
                </a:lnTo>
                <a:lnTo>
                  <a:pt x="1426344" y="2538426"/>
                </a:lnTo>
                <a:lnTo>
                  <a:pt x="2660300" y="2481276"/>
                </a:lnTo>
                <a:close/>
                <a:moveTo>
                  <a:pt x="1789156" y="1884445"/>
                </a:moveTo>
                <a:lnTo>
                  <a:pt x="1621278" y="2052323"/>
                </a:lnTo>
                <a:lnTo>
                  <a:pt x="1705217" y="2052323"/>
                </a:lnTo>
                <a:lnTo>
                  <a:pt x="1705217" y="2320356"/>
                </a:lnTo>
                <a:lnTo>
                  <a:pt x="1873095" y="2320356"/>
                </a:lnTo>
                <a:lnTo>
                  <a:pt x="1873095" y="2052323"/>
                </a:lnTo>
                <a:lnTo>
                  <a:pt x="1957034" y="2052323"/>
                </a:lnTo>
                <a:close/>
                <a:moveTo>
                  <a:pt x="2343988" y="1864924"/>
                </a:moveTo>
                <a:lnTo>
                  <a:pt x="2176110" y="2032802"/>
                </a:lnTo>
                <a:lnTo>
                  <a:pt x="2260049" y="2032802"/>
                </a:lnTo>
                <a:lnTo>
                  <a:pt x="2260049" y="2300835"/>
                </a:lnTo>
                <a:lnTo>
                  <a:pt x="2427927" y="2300835"/>
                </a:lnTo>
                <a:lnTo>
                  <a:pt x="2427927" y="2032802"/>
                </a:lnTo>
                <a:lnTo>
                  <a:pt x="2511866" y="2032802"/>
                </a:lnTo>
                <a:close/>
                <a:moveTo>
                  <a:pt x="1242561" y="310092"/>
                </a:moveTo>
                <a:lnTo>
                  <a:pt x="831090" y="497124"/>
                </a:lnTo>
                <a:cubicBezTo>
                  <a:pt x="834825" y="502719"/>
                  <a:pt x="836419" y="509232"/>
                  <a:pt x="837189" y="516038"/>
                </a:cubicBezTo>
                <a:lnTo>
                  <a:pt x="883745" y="927318"/>
                </a:lnTo>
                <a:lnTo>
                  <a:pt x="401403" y="981917"/>
                </a:lnTo>
                <a:lnTo>
                  <a:pt x="370238" y="706603"/>
                </a:lnTo>
                <a:lnTo>
                  <a:pt x="123395" y="818804"/>
                </a:lnTo>
                <a:lnTo>
                  <a:pt x="123395" y="2474429"/>
                </a:lnTo>
                <a:lnTo>
                  <a:pt x="1242561" y="2529925"/>
                </a:lnTo>
                <a:close/>
                <a:moveTo>
                  <a:pt x="1399823" y="0"/>
                </a:moveTo>
                <a:lnTo>
                  <a:pt x="2765779" y="620889"/>
                </a:lnTo>
                <a:lnTo>
                  <a:pt x="2765779" y="2641600"/>
                </a:lnTo>
                <a:lnTo>
                  <a:pt x="1399823" y="2709334"/>
                </a:lnTo>
                <a:close/>
                <a:moveTo>
                  <a:pt x="1365956" y="0"/>
                </a:moveTo>
                <a:lnTo>
                  <a:pt x="1365956" y="2709334"/>
                </a:lnTo>
                <a:lnTo>
                  <a:pt x="0" y="2641600"/>
                </a:lnTo>
                <a:lnTo>
                  <a:pt x="0" y="620889"/>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defRPr/>
            </a:pPr>
            <a:endParaRPr lang="en-US" kern="0" spc="-50" dirty="0" err="1">
              <a:gradFill>
                <a:gsLst>
                  <a:gs pos="0">
                    <a:srgbClr val="FFFFFF"/>
                  </a:gs>
                  <a:gs pos="100000">
                    <a:srgbClr val="FFFFFF"/>
                  </a:gs>
                </a:gsLst>
                <a:lin ang="5400000" scaled="0"/>
              </a:gradFill>
              <a:ea typeface="Segoe UI" pitchFamily="34" charset="0"/>
              <a:cs typeface="Segoe UI" pitchFamily="34" charset="0"/>
            </a:endParaRPr>
          </a:p>
        </p:txBody>
      </p:sp>
      <p:sp>
        <p:nvSpPr>
          <p:cNvPr id="4744" name="Rectangle 34"/>
          <p:cNvSpPr>
            <a:spLocks noChangeAspect="1"/>
          </p:cNvSpPr>
          <p:nvPr/>
        </p:nvSpPr>
        <p:spPr bwMode="auto">
          <a:xfrm>
            <a:off x="3551098" y="705532"/>
            <a:ext cx="218348" cy="384047"/>
          </a:xfrm>
          <a:custGeom>
            <a:avLst/>
            <a:gdLst/>
            <a:ahLst/>
            <a:cxnLst/>
            <a:rect l="l" t="t" r="r" b="b"/>
            <a:pathLst>
              <a:path w="1171885" h="2061737">
                <a:moveTo>
                  <a:pt x="143419" y="1960615"/>
                </a:moveTo>
                <a:cubicBezTo>
                  <a:pt x="138369" y="1960615"/>
                  <a:pt x="134275" y="1964709"/>
                  <a:pt x="134275" y="1969759"/>
                </a:cubicBezTo>
                <a:cubicBezTo>
                  <a:pt x="134275" y="1974809"/>
                  <a:pt x="138369" y="1978903"/>
                  <a:pt x="143419" y="1978903"/>
                </a:cubicBezTo>
                <a:lnTo>
                  <a:pt x="579179" y="1978903"/>
                </a:lnTo>
                <a:cubicBezTo>
                  <a:pt x="584229" y="1978903"/>
                  <a:pt x="588323" y="1974809"/>
                  <a:pt x="588323" y="1969759"/>
                </a:cubicBezTo>
                <a:cubicBezTo>
                  <a:pt x="588323" y="1964709"/>
                  <a:pt x="584229" y="1960615"/>
                  <a:pt x="579179" y="1960615"/>
                </a:cubicBezTo>
                <a:close/>
                <a:moveTo>
                  <a:pt x="143419" y="1910375"/>
                </a:moveTo>
                <a:cubicBezTo>
                  <a:pt x="138369" y="1910375"/>
                  <a:pt x="134275" y="1914469"/>
                  <a:pt x="134275" y="1919519"/>
                </a:cubicBezTo>
                <a:cubicBezTo>
                  <a:pt x="134275" y="1924569"/>
                  <a:pt x="138369" y="1928663"/>
                  <a:pt x="143419" y="1928663"/>
                </a:cubicBezTo>
                <a:lnTo>
                  <a:pt x="579179" y="1928663"/>
                </a:lnTo>
                <a:cubicBezTo>
                  <a:pt x="584229" y="1928663"/>
                  <a:pt x="588323" y="1924569"/>
                  <a:pt x="588323" y="1919519"/>
                </a:cubicBezTo>
                <a:cubicBezTo>
                  <a:pt x="588323" y="1914469"/>
                  <a:pt x="584229" y="1910375"/>
                  <a:pt x="579179" y="1910375"/>
                </a:cubicBezTo>
                <a:close/>
                <a:moveTo>
                  <a:pt x="636962" y="1860134"/>
                </a:moveTo>
                <a:cubicBezTo>
                  <a:pt x="626871" y="1860134"/>
                  <a:pt x="618691" y="1868314"/>
                  <a:pt x="618691" y="1878405"/>
                </a:cubicBezTo>
                <a:lnTo>
                  <a:pt x="618691" y="1951488"/>
                </a:lnTo>
                <a:cubicBezTo>
                  <a:pt x="618691" y="1961579"/>
                  <a:pt x="626871" y="1969759"/>
                  <a:pt x="636962" y="1969759"/>
                </a:cubicBezTo>
                <a:lnTo>
                  <a:pt x="1027491" y="1969759"/>
                </a:lnTo>
                <a:cubicBezTo>
                  <a:pt x="1037582" y="1969759"/>
                  <a:pt x="1045762" y="1961579"/>
                  <a:pt x="1045762" y="1951488"/>
                </a:cubicBezTo>
                <a:lnTo>
                  <a:pt x="1045762" y="1878405"/>
                </a:lnTo>
                <a:cubicBezTo>
                  <a:pt x="1045762" y="1868314"/>
                  <a:pt x="1037582" y="1860134"/>
                  <a:pt x="1027491" y="1860134"/>
                </a:cubicBezTo>
                <a:close/>
                <a:moveTo>
                  <a:pt x="143419" y="1860134"/>
                </a:moveTo>
                <a:cubicBezTo>
                  <a:pt x="138369" y="1860134"/>
                  <a:pt x="134275" y="1864228"/>
                  <a:pt x="134275" y="1869278"/>
                </a:cubicBezTo>
                <a:cubicBezTo>
                  <a:pt x="134275" y="1874328"/>
                  <a:pt x="138369" y="1878422"/>
                  <a:pt x="143419" y="1878422"/>
                </a:cubicBezTo>
                <a:lnTo>
                  <a:pt x="579179" y="1878422"/>
                </a:lnTo>
                <a:cubicBezTo>
                  <a:pt x="584229" y="1878422"/>
                  <a:pt x="588323" y="1874328"/>
                  <a:pt x="588323" y="1869278"/>
                </a:cubicBezTo>
                <a:cubicBezTo>
                  <a:pt x="588323" y="1864228"/>
                  <a:pt x="584229" y="1860134"/>
                  <a:pt x="579179" y="1860134"/>
                </a:cubicBezTo>
                <a:close/>
                <a:moveTo>
                  <a:pt x="849158" y="653609"/>
                </a:moveTo>
                <a:lnTo>
                  <a:pt x="948122" y="653609"/>
                </a:lnTo>
                <a:lnTo>
                  <a:pt x="948122" y="1054223"/>
                </a:lnTo>
                <a:lnTo>
                  <a:pt x="849158" y="1054223"/>
                </a:lnTo>
                <a:close/>
                <a:moveTo>
                  <a:pt x="773632" y="653609"/>
                </a:moveTo>
                <a:lnTo>
                  <a:pt x="821706" y="653609"/>
                </a:lnTo>
                <a:lnTo>
                  <a:pt x="821706" y="1054223"/>
                </a:lnTo>
                <a:lnTo>
                  <a:pt x="773632" y="1054223"/>
                </a:lnTo>
                <a:close/>
                <a:moveTo>
                  <a:pt x="565313" y="653609"/>
                </a:moveTo>
                <a:lnTo>
                  <a:pt x="613386" y="653609"/>
                </a:lnTo>
                <a:lnTo>
                  <a:pt x="613386" y="1054223"/>
                </a:lnTo>
                <a:lnTo>
                  <a:pt x="565313" y="1054223"/>
                </a:lnTo>
                <a:close/>
                <a:moveTo>
                  <a:pt x="408629" y="653609"/>
                </a:moveTo>
                <a:lnTo>
                  <a:pt x="456702" y="653609"/>
                </a:lnTo>
                <a:lnTo>
                  <a:pt x="456702" y="1054223"/>
                </a:lnTo>
                <a:lnTo>
                  <a:pt x="408629" y="1054223"/>
                </a:lnTo>
                <a:close/>
                <a:moveTo>
                  <a:pt x="264406" y="653609"/>
                </a:moveTo>
                <a:lnTo>
                  <a:pt x="380140" y="653609"/>
                </a:lnTo>
                <a:lnTo>
                  <a:pt x="380140" y="1054223"/>
                </a:lnTo>
                <a:lnTo>
                  <a:pt x="264406" y="1054223"/>
                </a:lnTo>
                <a:close/>
                <a:moveTo>
                  <a:pt x="203108" y="653609"/>
                </a:moveTo>
                <a:lnTo>
                  <a:pt x="250162" y="653609"/>
                </a:lnTo>
                <a:lnTo>
                  <a:pt x="250162" y="1054223"/>
                </a:lnTo>
                <a:lnTo>
                  <a:pt x="203108" y="1054223"/>
                </a:lnTo>
                <a:close/>
                <a:moveTo>
                  <a:pt x="117669" y="194556"/>
                </a:moveTo>
                <a:lnTo>
                  <a:pt x="117669" y="1775970"/>
                </a:lnTo>
                <a:lnTo>
                  <a:pt x="1054217" y="1775970"/>
                </a:lnTo>
                <a:lnTo>
                  <a:pt x="1054217" y="194556"/>
                </a:lnTo>
                <a:close/>
                <a:moveTo>
                  <a:pt x="195318" y="0"/>
                </a:moveTo>
                <a:lnTo>
                  <a:pt x="976567" y="0"/>
                </a:lnTo>
                <a:cubicBezTo>
                  <a:pt x="1084438" y="0"/>
                  <a:pt x="1171885" y="87447"/>
                  <a:pt x="1171885" y="195318"/>
                </a:cubicBezTo>
                <a:lnTo>
                  <a:pt x="1171885" y="1866419"/>
                </a:lnTo>
                <a:cubicBezTo>
                  <a:pt x="1171885" y="1974290"/>
                  <a:pt x="1084438" y="2061737"/>
                  <a:pt x="976567" y="2061737"/>
                </a:cubicBezTo>
                <a:lnTo>
                  <a:pt x="195318" y="2061737"/>
                </a:lnTo>
                <a:cubicBezTo>
                  <a:pt x="87447" y="2061737"/>
                  <a:pt x="0" y="1974290"/>
                  <a:pt x="0" y="1866419"/>
                </a:cubicBezTo>
                <a:lnTo>
                  <a:pt x="0" y="195318"/>
                </a:lnTo>
                <a:cubicBezTo>
                  <a:pt x="0" y="87447"/>
                  <a:pt x="87447" y="0"/>
                  <a:pt x="195318" y="0"/>
                </a:cubicBezTo>
                <a:close/>
              </a:path>
            </a:pathLst>
          </a:custGeom>
          <a:solidFill>
            <a:schemeClr val="bg2"/>
          </a:solid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defRPr/>
            </a:pPr>
            <a:endParaRPr lang="en-US" kern="0" spc="-50" dirty="0" err="1">
              <a:solidFill>
                <a:srgbClr val="00188F"/>
              </a:solidFill>
              <a:ea typeface="Segoe UI" pitchFamily="34" charset="0"/>
              <a:cs typeface="Segoe UI" pitchFamily="34" charset="0"/>
            </a:endParaRPr>
          </a:p>
        </p:txBody>
      </p:sp>
      <p:sp>
        <p:nvSpPr>
          <p:cNvPr id="4800" name="HEALTHCARE"/>
          <p:cNvSpPr>
            <a:spLocks noChangeAspect="1"/>
          </p:cNvSpPr>
          <p:nvPr/>
        </p:nvSpPr>
        <p:spPr bwMode="auto">
          <a:xfrm rot="5400000">
            <a:off x="4040242" y="1310388"/>
            <a:ext cx="413187" cy="413294"/>
          </a:xfrm>
          <a:custGeom>
            <a:avLst/>
            <a:gdLst/>
            <a:ahLst/>
            <a:cxnLst/>
            <a:rect l="l" t="t" r="r" b="b"/>
            <a:pathLst>
              <a:path w="3221975" h="3221974">
                <a:moveTo>
                  <a:pt x="695463" y="1877687"/>
                </a:moveTo>
                <a:lnTo>
                  <a:pt x="1344288" y="1877687"/>
                </a:lnTo>
                <a:lnTo>
                  <a:pt x="1344288" y="2526511"/>
                </a:lnTo>
                <a:lnTo>
                  <a:pt x="1877688" y="2526511"/>
                </a:lnTo>
                <a:lnTo>
                  <a:pt x="1877688" y="1877687"/>
                </a:lnTo>
                <a:lnTo>
                  <a:pt x="2526513" y="1877687"/>
                </a:lnTo>
                <a:lnTo>
                  <a:pt x="2526513" y="1344287"/>
                </a:lnTo>
                <a:lnTo>
                  <a:pt x="1877688" y="1344287"/>
                </a:lnTo>
                <a:lnTo>
                  <a:pt x="1877688" y="695462"/>
                </a:lnTo>
                <a:lnTo>
                  <a:pt x="1344288" y="695462"/>
                </a:lnTo>
                <a:lnTo>
                  <a:pt x="1344288" y="1344287"/>
                </a:lnTo>
                <a:lnTo>
                  <a:pt x="695463" y="1344287"/>
                </a:lnTo>
                <a:close/>
                <a:moveTo>
                  <a:pt x="0" y="1610987"/>
                </a:moveTo>
                <a:cubicBezTo>
                  <a:pt x="0" y="721263"/>
                  <a:pt x="721264" y="0"/>
                  <a:pt x="1610988" y="0"/>
                </a:cubicBezTo>
                <a:cubicBezTo>
                  <a:pt x="2500712" y="0"/>
                  <a:pt x="3221975" y="721263"/>
                  <a:pt x="3221975" y="1610987"/>
                </a:cubicBezTo>
                <a:cubicBezTo>
                  <a:pt x="3221975" y="2500711"/>
                  <a:pt x="2500712" y="3221974"/>
                  <a:pt x="1610988" y="3221974"/>
                </a:cubicBezTo>
                <a:cubicBezTo>
                  <a:pt x="721264" y="3221974"/>
                  <a:pt x="0" y="2500711"/>
                  <a:pt x="0" y="1610987"/>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099" fontAlgn="base">
              <a:spcBef>
                <a:spcPct val="0"/>
              </a:spcBef>
              <a:spcAft>
                <a:spcPct val="0"/>
              </a:spcAft>
            </a:pPr>
            <a:endParaRPr lang="en-US" spc="-50" dirty="0" err="1">
              <a:solidFill>
                <a:srgbClr val="00BCF2"/>
              </a:solidFill>
              <a:ea typeface="Segoe UI" pitchFamily="34" charset="0"/>
              <a:cs typeface="Segoe UI" pitchFamily="34" charset="0"/>
            </a:endParaRPr>
          </a:p>
        </p:txBody>
      </p:sp>
      <p:sp>
        <p:nvSpPr>
          <p:cNvPr id="4801" name="SMART BUILDING AUTOMATION"/>
          <p:cNvSpPr>
            <a:spLocks noChangeAspect="1"/>
          </p:cNvSpPr>
          <p:nvPr/>
        </p:nvSpPr>
        <p:spPr bwMode="auto">
          <a:xfrm>
            <a:off x="2571870" y="430188"/>
            <a:ext cx="435847" cy="491805"/>
          </a:xfrm>
          <a:custGeom>
            <a:avLst/>
            <a:gdLst/>
            <a:ahLst/>
            <a:cxnLst/>
            <a:rect l="l" t="t" r="r" b="b"/>
            <a:pathLst>
              <a:path w="1120405" h="937223">
                <a:moveTo>
                  <a:pt x="31668" y="603983"/>
                </a:moveTo>
                <a:lnTo>
                  <a:pt x="31668" y="658598"/>
                </a:lnTo>
                <a:lnTo>
                  <a:pt x="94207" y="658598"/>
                </a:lnTo>
                <a:lnTo>
                  <a:pt x="94207" y="603983"/>
                </a:lnTo>
                <a:close/>
                <a:moveTo>
                  <a:pt x="31668" y="531947"/>
                </a:moveTo>
                <a:lnTo>
                  <a:pt x="31668" y="586562"/>
                </a:lnTo>
                <a:lnTo>
                  <a:pt x="344364" y="586562"/>
                </a:lnTo>
                <a:lnTo>
                  <a:pt x="344364" y="531947"/>
                </a:lnTo>
                <a:close/>
                <a:moveTo>
                  <a:pt x="31668" y="454381"/>
                </a:moveTo>
                <a:lnTo>
                  <a:pt x="31668" y="508996"/>
                </a:lnTo>
                <a:lnTo>
                  <a:pt x="539092" y="508996"/>
                </a:lnTo>
                <a:lnTo>
                  <a:pt x="539092" y="454381"/>
                </a:lnTo>
                <a:close/>
                <a:moveTo>
                  <a:pt x="57391" y="419995"/>
                </a:moveTo>
                <a:lnTo>
                  <a:pt x="586675" y="419995"/>
                </a:lnTo>
                <a:cubicBezTo>
                  <a:pt x="618372" y="419995"/>
                  <a:pt x="644065" y="445689"/>
                  <a:pt x="644065" y="477385"/>
                </a:cubicBezTo>
                <a:lnTo>
                  <a:pt x="644065" y="937223"/>
                </a:lnTo>
                <a:lnTo>
                  <a:pt x="0" y="937223"/>
                </a:lnTo>
                <a:lnTo>
                  <a:pt x="0" y="477385"/>
                </a:lnTo>
                <a:cubicBezTo>
                  <a:pt x="0" y="445689"/>
                  <a:pt x="25694" y="419995"/>
                  <a:pt x="57391" y="419995"/>
                </a:cubicBezTo>
                <a:close/>
                <a:moveTo>
                  <a:pt x="606057" y="181167"/>
                </a:moveTo>
                <a:lnTo>
                  <a:pt x="606057" y="223387"/>
                </a:lnTo>
                <a:lnTo>
                  <a:pt x="701920" y="223387"/>
                </a:lnTo>
                <a:lnTo>
                  <a:pt x="701920" y="181167"/>
                </a:lnTo>
                <a:close/>
                <a:moveTo>
                  <a:pt x="474118" y="181167"/>
                </a:moveTo>
                <a:lnTo>
                  <a:pt x="474118" y="223387"/>
                </a:lnTo>
                <a:lnTo>
                  <a:pt x="569981" y="223387"/>
                </a:lnTo>
                <a:lnTo>
                  <a:pt x="569981" y="181167"/>
                </a:lnTo>
                <a:close/>
                <a:moveTo>
                  <a:pt x="606057" y="120765"/>
                </a:moveTo>
                <a:lnTo>
                  <a:pt x="606057" y="162985"/>
                </a:lnTo>
                <a:lnTo>
                  <a:pt x="701920" y="162985"/>
                </a:lnTo>
                <a:lnTo>
                  <a:pt x="701920" y="120765"/>
                </a:lnTo>
                <a:close/>
                <a:moveTo>
                  <a:pt x="474118" y="120765"/>
                </a:moveTo>
                <a:lnTo>
                  <a:pt x="474118" y="162985"/>
                </a:lnTo>
                <a:lnTo>
                  <a:pt x="569981" y="162985"/>
                </a:lnTo>
                <a:lnTo>
                  <a:pt x="569981" y="120765"/>
                </a:lnTo>
                <a:close/>
                <a:moveTo>
                  <a:pt x="737996" y="60363"/>
                </a:moveTo>
                <a:lnTo>
                  <a:pt x="737996" y="102583"/>
                </a:lnTo>
                <a:lnTo>
                  <a:pt x="833859" y="102583"/>
                </a:lnTo>
                <a:lnTo>
                  <a:pt x="833859" y="60363"/>
                </a:lnTo>
                <a:close/>
                <a:moveTo>
                  <a:pt x="606057" y="60362"/>
                </a:moveTo>
                <a:lnTo>
                  <a:pt x="606057" y="102582"/>
                </a:lnTo>
                <a:lnTo>
                  <a:pt x="701920" y="102582"/>
                </a:lnTo>
                <a:lnTo>
                  <a:pt x="701920" y="60362"/>
                </a:lnTo>
                <a:close/>
                <a:moveTo>
                  <a:pt x="474118" y="60362"/>
                </a:moveTo>
                <a:lnTo>
                  <a:pt x="474118" y="102582"/>
                </a:lnTo>
                <a:lnTo>
                  <a:pt x="569981" y="102582"/>
                </a:lnTo>
                <a:lnTo>
                  <a:pt x="569981" y="60362"/>
                </a:lnTo>
                <a:close/>
                <a:moveTo>
                  <a:pt x="503122" y="0"/>
                </a:moveTo>
                <a:lnTo>
                  <a:pt x="1053370" y="0"/>
                </a:lnTo>
                <a:cubicBezTo>
                  <a:pt x="1090392" y="0"/>
                  <a:pt x="1120405" y="30013"/>
                  <a:pt x="1120405" y="67036"/>
                </a:cubicBezTo>
                <a:lnTo>
                  <a:pt x="1120405" y="815871"/>
                </a:lnTo>
                <a:cubicBezTo>
                  <a:pt x="1120405" y="852894"/>
                  <a:pt x="1090392" y="882907"/>
                  <a:pt x="1053370" y="882907"/>
                </a:cubicBezTo>
                <a:lnTo>
                  <a:pt x="684319" y="882907"/>
                </a:lnTo>
                <a:lnTo>
                  <a:pt x="684319" y="415736"/>
                </a:lnTo>
                <a:cubicBezTo>
                  <a:pt x="684319" y="378714"/>
                  <a:pt x="654306" y="348700"/>
                  <a:pt x="617284" y="348700"/>
                </a:cubicBezTo>
                <a:lnTo>
                  <a:pt x="436086" y="348700"/>
                </a:lnTo>
                <a:lnTo>
                  <a:pt x="436086" y="67036"/>
                </a:lnTo>
                <a:cubicBezTo>
                  <a:pt x="436086" y="30013"/>
                  <a:pt x="466099" y="0"/>
                  <a:pt x="503122"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a:gradFill>
                <a:gsLst>
                  <a:gs pos="0">
                    <a:srgbClr val="FFFFFF"/>
                  </a:gs>
                  <a:gs pos="100000">
                    <a:srgbClr val="FFFFFF"/>
                  </a:gs>
                </a:gsLst>
                <a:lin ang="5400000" scaled="0"/>
              </a:gradFill>
              <a:ea typeface="Segoe UI" pitchFamily="34" charset="0"/>
              <a:cs typeface="Segoe UI" pitchFamily="34" charset="0"/>
            </a:endParaRPr>
          </a:p>
        </p:txBody>
      </p:sp>
      <p:sp>
        <p:nvSpPr>
          <p:cNvPr id="4802" name="CAMERA"/>
          <p:cNvSpPr>
            <a:spLocks noChangeAspect="1"/>
          </p:cNvSpPr>
          <p:nvPr/>
        </p:nvSpPr>
        <p:spPr bwMode="auto">
          <a:xfrm>
            <a:off x="883125" y="938976"/>
            <a:ext cx="397151" cy="344132"/>
          </a:xfrm>
          <a:custGeom>
            <a:avLst/>
            <a:gdLst/>
            <a:ahLst/>
            <a:cxnLst/>
            <a:rect l="l" t="t" r="r" b="b"/>
            <a:pathLst>
              <a:path w="3334770" h="2890343">
                <a:moveTo>
                  <a:pt x="540615" y="561828"/>
                </a:moveTo>
                <a:cubicBezTo>
                  <a:pt x="479462" y="561828"/>
                  <a:pt x="429887" y="611403"/>
                  <a:pt x="429887" y="672556"/>
                </a:cubicBezTo>
                <a:cubicBezTo>
                  <a:pt x="429887" y="733709"/>
                  <a:pt x="479462" y="783284"/>
                  <a:pt x="540615" y="783284"/>
                </a:cubicBezTo>
                <a:cubicBezTo>
                  <a:pt x="601768" y="783284"/>
                  <a:pt x="651343" y="733709"/>
                  <a:pt x="651343" y="672556"/>
                </a:cubicBezTo>
                <a:cubicBezTo>
                  <a:pt x="651343" y="611403"/>
                  <a:pt x="601768" y="561828"/>
                  <a:pt x="540615" y="561828"/>
                </a:cubicBezTo>
                <a:close/>
                <a:moveTo>
                  <a:pt x="668805" y="311874"/>
                </a:moveTo>
                <a:cubicBezTo>
                  <a:pt x="901036" y="311874"/>
                  <a:pt x="1089297" y="500135"/>
                  <a:pt x="1089297" y="732366"/>
                </a:cubicBezTo>
                <a:cubicBezTo>
                  <a:pt x="1089297" y="964597"/>
                  <a:pt x="901036" y="1152858"/>
                  <a:pt x="668805" y="1152858"/>
                </a:cubicBezTo>
                <a:cubicBezTo>
                  <a:pt x="436574" y="1152858"/>
                  <a:pt x="248313" y="964597"/>
                  <a:pt x="248313" y="732366"/>
                </a:cubicBezTo>
                <a:cubicBezTo>
                  <a:pt x="248313" y="500135"/>
                  <a:pt x="436574" y="311874"/>
                  <a:pt x="668805" y="311874"/>
                </a:cubicBezTo>
                <a:close/>
                <a:moveTo>
                  <a:pt x="1690740" y="288114"/>
                </a:moveTo>
                <a:cubicBezTo>
                  <a:pt x="1652064" y="288114"/>
                  <a:pt x="1620711" y="319467"/>
                  <a:pt x="1620711" y="358143"/>
                </a:cubicBezTo>
                <a:lnTo>
                  <a:pt x="1620711" y="1469502"/>
                </a:lnTo>
                <a:cubicBezTo>
                  <a:pt x="1620711" y="1508178"/>
                  <a:pt x="1652064" y="1539531"/>
                  <a:pt x="1690740" y="1539531"/>
                </a:cubicBezTo>
                <a:lnTo>
                  <a:pt x="3094886" y="1539531"/>
                </a:lnTo>
                <a:cubicBezTo>
                  <a:pt x="3133562" y="1539531"/>
                  <a:pt x="3164915" y="1508178"/>
                  <a:pt x="3164915" y="1469502"/>
                </a:cubicBezTo>
                <a:lnTo>
                  <a:pt x="3164915" y="358143"/>
                </a:lnTo>
                <a:cubicBezTo>
                  <a:pt x="3164915" y="319467"/>
                  <a:pt x="3133562" y="288114"/>
                  <a:pt x="3094886" y="288114"/>
                </a:cubicBezTo>
                <a:close/>
                <a:moveTo>
                  <a:pt x="668805" y="224366"/>
                </a:moveTo>
                <a:cubicBezTo>
                  <a:pt x="388244" y="224366"/>
                  <a:pt x="160805" y="451805"/>
                  <a:pt x="160805" y="732366"/>
                </a:cubicBezTo>
                <a:cubicBezTo>
                  <a:pt x="160805" y="1012927"/>
                  <a:pt x="388244" y="1240366"/>
                  <a:pt x="668805" y="1240366"/>
                </a:cubicBezTo>
                <a:cubicBezTo>
                  <a:pt x="949366" y="1240366"/>
                  <a:pt x="1176805" y="1012927"/>
                  <a:pt x="1176805" y="732366"/>
                </a:cubicBezTo>
                <a:cubicBezTo>
                  <a:pt x="1176805" y="451805"/>
                  <a:pt x="949366" y="224366"/>
                  <a:pt x="668805" y="224366"/>
                </a:cubicBezTo>
                <a:close/>
                <a:moveTo>
                  <a:pt x="1620535" y="150464"/>
                </a:moveTo>
                <a:lnTo>
                  <a:pt x="3165091" y="150464"/>
                </a:lnTo>
                <a:cubicBezTo>
                  <a:pt x="3258802" y="150464"/>
                  <a:pt x="3334770" y="226432"/>
                  <a:pt x="3334770" y="320143"/>
                </a:cubicBezTo>
                <a:lnTo>
                  <a:pt x="3334770" y="1507502"/>
                </a:lnTo>
                <a:cubicBezTo>
                  <a:pt x="3334770" y="1601213"/>
                  <a:pt x="3258802" y="1677181"/>
                  <a:pt x="3165091" y="1677181"/>
                </a:cubicBezTo>
                <a:lnTo>
                  <a:pt x="1620535" y="1677181"/>
                </a:lnTo>
                <a:cubicBezTo>
                  <a:pt x="1526824" y="1677181"/>
                  <a:pt x="1450856" y="1601213"/>
                  <a:pt x="1450856" y="1507502"/>
                </a:cubicBezTo>
                <a:lnTo>
                  <a:pt x="1450856" y="320143"/>
                </a:lnTo>
                <a:cubicBezTo>
                  <a:pt x="1450856" y="226432"/>
                  <a:pt x="1526824" y="150464"/>
                  <a:pt x="1620535" y="150464"/>
                </a:cubicBezTo>
                <a:close/>
                <a:moveTo>
                  <a:pt x="116262" y="0"/>
                </a:moveTo>
                <a:lnTo>
                  <a:pt x="1272608" y="0"/>
                </a:lnTo>
                <a:cubicBezTo>
                  <a:pt x="1336818" y="0"/>
                  <a:pt x="1388870" y="52052"/>
                  <a:pt x="1388870" y="116262"/>
                </a:cubicBezTo>
                <a:lnTo>
                  <a:pt x="1388870" y="2774081"/>
                </a:lnTo>
                <a:cubicBezTo>
                  <a:pt x="1388870" y="2838291"/>
                  <a:pt x="1336818" y="2890343"/>
                  <a:pt x="1272608" y="2890343"/>
                </a:cubicBezTo>
                <a:lnTo>
                  <a:pt x="116262" y="2890343"/>
                </a:lnTo>
                <a:cubicBezTo>
                  <a:pt x="52052" y="2890343"/>
                  <a:pt x="0" y="2838291"/>
                  <a:pt x="0" y="2774081"/>
                </a:cubicBezTo>
                <a:lnTo>
                  <a:pt x="0" y="116262"/>
                </a:lnTo>
                <a:cubicBezTo>
                  <a:pt x="0" y="52052"/>
                  <a:pt x="52052" y="0"/>
                  <a:pt x="116262"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099" fontAlgn="base">
              <a:spcBef>
                <a:spcPct val="0"/>
              </a:spcBef>
              <a:spcAft>
                <a:spcPct val="0"/>
              </a:spcAft>
            </a:pPr>
            <a:endParaRPr lang="en-US" spc="-5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803" name="Group 4802"/>
          <p:cNvGrpSpPr>
            <a:grpSpLocks noChangeAspect="1"/>
          </p:cNvGrpSpPr>
          <p:nvPr/>
        </p:nvGrpSpPr>
        <p:grpSpPr>
          <a:xfrm>
            <a:off x="2182253" y="2296391"/>
            <a:ext cx="526498" cy="335466"/>
            <a:chOff x="2729534" y="6424345"/>
            <a:chExt cx="2536568" cy="1616210"/>
          </a:xfrm>
          <a:solidFill>
            <a:schemeClr val="bg1"/>
          </a:solidFill>
        </p:grpSpPr>
        <p:sp>
          <p:nvSpPr>
            <p:cNvPr id="4804" name="Freeform 13"/>
            <p:cNvSpPr>
              <a:spLocks noEditPoints="1"/>
            </p:cNvSpPr>
            <p:nvPr/>
          </p:nvSpPr>
          <p:spPr bwMode="auto">
            <a:xfrm>
              <a:off x="2729534" y="6424345"/>
              <a:ext cx="2536568" cy="1616210"/>
            </a:xfrm>
            <a:custGeom>
              <a:avLst/>
              <a:gdLst>
                <a:gd name="T0" fmla="*/ 445 w 452"/>
                <a:gd name="T1" fmla="*/ 0 h 288"/>
                <a:gd name="T2" fmla="*/ 8 w 452"/>
                <a:gd name="T3" fmla="*/ 0 h 288"/>
                <a:gd name="T4" fmla="*/ 8 w 452"/>
                <a:gd name="T5" fmla="*/ 0 h 288"/>
                <a:gd name="T6" fmla="*/ 4 w 452"/>
                <a:gd name="T7" fmla="*/ 1 h 288"/>
                <a:gd name="T8" fmla="*/ 2 w 452"/>
                <a:gd name="T9" fmla="*/ 2 h 288"/>
                <a:gd name="T10" fmla="*/ 0 w 452"/>
                <a:gd name="T11" fmla="*/ 4 h 288"/>
                <a:gd name="T12" fmla="*/ 0 w 452"/>
                <a:gd name="T13" fmla="*/ 8 h 288"/>
                <a:gd name="T14" fmla="*/ 0 w 452"/>
                <a:gd name="T15" fmla="*/ 280 h 288"/>
                <a:gd name="T16" fmla="*/ 0 w 452"/>
                <a:gd name="T17" fmla="*/ 280 h 288"/>
                <a:gd name="T18" fmla="*/ 0 w 452"/>
                <a:gd name="T19" fmla="*/ 284 h 288"/>
                <a:gd name="T20" fmla="*/ 2 w 452"/>
                <a:gd name="T21" fmla="*/ 286 h 288"/>
                <a:gd name="T22" fmla="*/ 4 w 452"/>
                <a:gd name="T23" fmla="*/ 288 h 288"/>
                <a:gd name="T24" fmla="*/ 8 w 452"/>
                <a:gd name="T25" fmla="*/ 288 h 288"/>
                <a:gd name="T26" fmla="*/ 445 w 452"/>
                <a:gd name="T27" fmla="*/ 288 h 288"/>
                <a:gd name="T28" fmla="*/ 445 w 452"/>
                <a:gd name="T29" fmla="*/ 288 h 288"/>
                <a:gd name="T30" fmla="*/ 448 w 452"/>
                <a:gd name="T31" fmla="*/ 288 h 288"/>
                <a:gd name="T32" fmla="*/ 450 w 452"/>
                <a:gd name="T33" fmla="*/ 286 h 288"/>
                <a:gd name="T34" fmla="*/ 452 w 452"/>
                <a:gd name="T35" fmla="*/ 284 h 288"/>
                <a:gd name="T36" fmla="*/ 452 w 452"/>
                <a:gd name="T37" fmla="*/ 280 h 288"/>
                <a:gd name="T38" fmla="*/ 452 w 452"/>
                <a:gd name="T39" fmla="*/ 8 h 288"/>
                <a:gd name="T40" fmla="*/ 452 w 452"/>
                <a:gd name="T41" fmla="*/ 8 h 288"/>
                <a:gd name="T42" fmla="*/ 452 w 452"/>
                <a:gd name="T43" fmla="*/ 4 h 288"/>
                <a:gd name="T44" fmla="*/ 450 w 452"/>
                <a:gd name="T45" fmla="*/ 2 h 288"/>
                <a:gd name="T46" fmla="*/ 448 w 452"/>
                <a:gd name="T47" fmla="*/ 1 h 288"/>
                <a:gd name="T48" fmla="*/ 445 w 452"/>
                <a:gd name="T49" fmla="*/ 0 h 288"/>
                <a:gd name="T50" fmla="*/ 445 w 452"/>
                <a:gd name="T51" fmla="*/ 0 h 288"/>
                <a:gd name="T52" fmla="*/ 408 w 452"/>
                <a:gd name="T53" fmla="*/ 242 h 288"/>
                <a:gd name="T54" fmla="*/ 408 w 452"/>
                <a:gd name="T55" fmla="*/ 242 h 288"/>
                <a:gd name="T56" fmla="*/ 407 w 452"/>
                <a:gd name="T57" fmla="*/ 244 h 288"/>
                <a:gd name="T58" fmla="*/ 406 w 452"/>
                <a:gd name="T59" fmla="*/ 247 h 288"/>
                <a:gd name="T60" fmla="*/ 404 w 452"/>
                <a:gd name="T61" fmla="*/ 248 h 288"/>
                <a:gd name="T62" fmla="*/ 402 w 452"/>
                <a:gd name="T63" fmla="*/ 248 h 288"/>
                <a:gd name="T64" fmla="*/ 50 w 452"/>
                <a:gd name="T65" fmla="*/ 248 h 288"/>
                <a:gd name="T66" fmla="*/ 50 w 452"/>
                <a:gd name="T67" fmla="*/ 248 h 288"/>
                <a:gd name="T68" fmla="*/ 48 w 452"/>
                <a:gd name="T69" fmla="*/ 248 h 288"/>
                <a:gd name="T70" fmla="*/ 47 w 452"/>
                <a:gd name="T71" fmla="*/ 247 h 288"/>
                <a:gd name="T72" fmla="*/ 46 w 452"/>
                <a:gd name="T73" fmla="*/ 244 h 288"/>
                <a:gd name="T74" fmla="*/ 45 w 452"/>
                <a:gd name="T75" fmla="*/ 242 h 288"/>
                <a:gd name="T76" fmla="*/ 45 w 452"/>
                <a:gd name="T77" fmla="*/ 46 h 288"/>
                <a:gd name="T78" fmla="*/ 45 w 452"/>
                <a:gd name="T79" fmla="*/ 46 h 288"/>
                <a:gd name="T80" fmla="*/ 46 w 452"/>
                <a:gd name="T81" fmla="*/ 43 h 288"/>
                <a:gd name="T82" fmla="*/ 47 w 452"/>
                <a:gd name="T83" fmla="*/ 42 h 288"/>
                <a:gd name="T84" fmla="*/ 48 w 452"/>
                <a:gd name="T85" fmla="*/ 40 h 288"/>
                <a:gd name="T86" fmla="*/ 50 w 452"/>
                <a:gd name="T87" fmla="*/ 40 h 288"/>
                <a:gd name="T88" fmla="*/ 402 w 452"/>
                <a:gd name="T89" fmla="*/ 40 h 288"/>
                <a:gd name="T90" fmla="*/ 402 w 452"/>
                <a:gd name="T91" fmla="*/ 40 h 288"/>
                <a:gd name="T92" fmla="*/ 404 w 452"/>
                <a:gd name="T93" fmla="*/ 40 h 288"/>
                <a:gd name="T94" fmla="*/ 406 w 452"/>
                <a:gd name="T95" fmla="*/ 42 h 288"/>
                <a:gd name="T96" fmla="*/ 407 w 452"/>
                <a:gd name="T97" fmla="*/ 43 h 288"/>
                <a:gd name="T98" fmla="*/ 408 w 452"/>
                <a:gd name="T99" fmla="*/ 46 h 288"/>
                <a:gd name="T100" fmla="*/ 408 w 452"/>
                <a:gd name="T101" fmla="*/ 24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52" h="288">
                  <a:moveTo>
                    <a:pt x="445" y="0"/>
                  </a:moveTo>
                  <a:lnTo>
                    <a:pt x="8" y="0"/>
                  </a:lnTo>
                  <a:lnTo>
                    <a:pt x="8" y="0"/>
                  </a:lnTo>
                  <a:lnTo>
                    <a:pt x="4" y="1"/>
                  </a:lnTo>
                  <a:lnTo>
                    <a:pt x="2" y="2"/>
                  </a:lnTo>
                  <a:lnTo>
                    <a:pt x="0" y="4"/>
                  </a:lnTo>
                  <a:lnTo>
                    <a:pt x="0" y="8"/>
                  </a:lnTo>
                  <a:lnTo>
                    <a:pt x="0" y="280"/>
                  </a:lnTo>
                  <a:lnTo>
                    <a:pt x="0" y="280"/>
                  </a:lnTo>
                  <a:lnTo>
                    <a:pt x="0" y="284"/>
                  </a:lnTo>
                  <a:lnTo>
                    <a:pt x="2" y="286"/>
                  </a:lnTo>
                  <a:lnTo>
                    <a:pt x="4" y="288"/>
                  </a:lnTo>
                  <a:lnTo>
                    <a:pt x="8" y="288"/>
                  </a:lnTo>
                  <a:lnTo>
                    <a:pt x="445" y="288"/>
                  </a:lnTo>
                  <a:lnTo>
                    <a:pt x="445" y="288"/>
                  </a:lnTo>
                  <a:lnTo>
                    <a:pt x="448" y="288"/>
                  </a:lnTo>
                  <a:lnTo>
                    <a:pt x="450" y="286"/>
                  </a:lnTo>
                  <a:lnTo>
                    <a:pt x="452" y="284"/>
                  </a:lnTo>
                  <a:lnTo>
                    <a:pt x="452" y="280"/>
                  </a:lnTo>
                  <a:lnTo>
                    <a:pt x="452" y="8"/>
                  </a:lnTo>
                  <a:lnTo>
                    <a:pt x="452" y="8"/>
                  </a:lnTo>
                  <a:lnTo>
                    <a:pt x="452" y="4"/>
                  </a:lnTo>
                  <a:lnTo>
                    <a:pt x="450" y="2"/>
                  </a:lnTo>
                  <a:lnTo>
                    <a:pt x="448" y="1"/>
                  </a:lnTo>
                  <a:lnTo>
                    <a:pt x="445" y="0"/>
                  </a:lnTo>
                  <a:lnTo>
                    <a:pt x="445" y="0"/>
                  </a:lnTo>
                  <a:close/>
                  <a:moveTo>
                    <a:pt x="408" y="242"/>
                  </a:moveTo>
                  <a:lnTo>
                    <a:pt x="408" y="242"/>
                  </a:lnTo>
                  <a:lnTo>
                    <a:pt x="407" y="244"/>
                  </a:lnTo>
                  <a:lnTo>
                    <a:pt x="406" y="247"/>
                  </a:lnTo>
                  <a:lnTo>
                    <a:pt x="404" y="248"/>
                  </a:lnTo>
                  <a:lnTo>
                    <a:pt x="402" y="248"/>
                  </a:lnTo>
                  <a:lnTo>
                    <a:pt x="50" y="248"/>
                  </a:lnTo>
                  <a:lnTo>
                    <a:pt x="50" y="248"/>
                  </a:lnTo>
                  <a:lnTo>
                    <a:pt x="48" y="248"/>
                  </a:lnTo>
                  <a:lnTo>
                    <a:pt x="47" y="247"/>
                  </a:lnTo>
                  <a:lnTo>
                    <a:pt x="46" y="244"/>
                  </a:lnTo>
                  <a:lnTo>
                    <a:pt x="45" y="242"/>
                  </a:lnTo>
                  <a:lnTo>
                    <a:pt x="45" y="46"/>
                  </a:lnTo>
                  <a:lnTo>
                    <a:pt x="45" y="46"/>
                  </a:lnTo>
                  <a:lnTo>
                    <a:pt x="46" y="43"/>
                  </a:lnTo>
                  <a:lnTo>
                    <a:pt x="47" y="42"/>
                  </a:lnTo>
                  <a:lnTo>
                    <a:pt x="48" y="40"/>
                  </a:lnTo>
                  <a:lnTo>
                    <a:pt x="50" y="40"/>
                  </a:lnTo>
                  <a:lnTo>
                    <a:pt x="402" y="40"/>
                  </a:lnTo>
                  <a:lnTo>
                    <a:pt x="402" y="40"/>
                  </a:lnTo>
                  <a:lnTo>
                    <a:pt x="404" y="40"/>
                  </a:lnTo>
                  <a:lnTo>
                    <a:pt x="406" y="42"/>
                  </a:lnTo>
                  <a:lnTo>
                    <a:pt x="407" y="43"/>
                  </a:lnTo>
                  <a:lnTo>
                    <a:pt x="408" y="46"/>
                  </a:lnTo>
                  <a:lnTo>
                    <a:pt x="408" y="2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404040"/>
                </a:solidFill>
              </a:endParaRPr>
            </a:p>
          </p:txBody>
        </p:sp>
        <p:grpSp>
          <p:nvGrpSpPr>
            <p:cNvPr id="4805" name="Group 4804"/>
            <p:cNvGrpSpPr/>
            <p:nvPr/>
          </p:nvGrpSpPr>
          <p:grpSpPr>
            <a:xfrm>
              <a:off x="3088688" y="6895733"/>
              <a:ext cx="1088714" cy="673435"/>
              <a:chOff x="5665599" y="3252330"/>
              <a:chExt cx="107944" cy="66770"/>
            </a:xfrm>
            <a:grpFill/>
          </p:grpSpPr>
          <p:sp>
            <p:nvSpPr>
              <p:cNvPr id="4809" name="Freeform 27"/>
              <p:cNvSpPr>
                <a:spLocks/>
              </p:cNvSpPr>
              <p:nvPr/>
            </p:nvSpPr>
            <p:spPr bwMode="auto">
              <a:xfrm>
                <a:off x="5665599" y="3253443"/>
                <a:ext cx="26151" cy="8903"/>
              </a:xfrm>
              <a:custGeom>
                <a:avLst/>
                <a:gdLst>
                  <a:gd name="T0" fmla="*/ 47 w 47"/>
                  <a:gd name="T1" fmla="*/ 0 h 16"/>
                  <a:gd name="T2" fmla="*/ 47 w 47"/>
                  <a:gd name="T3" fmla="*/ 0 h 16"/>
                  <a:gd name="T4" fmla="*/ 39 w 47"/>
                  <a:gd name="T5" fmla="*/ 16 h 16"/>
                  <a:gd name="T6" fmla="*/ 39 w 47"/>
                  <a:gd name="T7" fmla="*/ 16 h 16"/>
                  <a:gd name="T8" fmla="*/ 16 w 47"/>
                  <a:gd name="T9" fmla="*/ 15 h 16"/>
                  <a:gd name="T10" fmla="*/ 16 w 47"/>
                  <a:gd name="T11" fmla="*/ 15 h 16"/>
                  <a:gd name="T12" fmla="*/ 8 w 47"/>
                  <a:gd name="T13" fmla="*/ 12 h 16"/>
                  <a:gd name="T14" fmla="*/ 0 w 47"/>
                  <a:gd name="T15" fmla="*/ 8 h 16"/>
                  <a:gd name="T16" fmla="*/ 0 w 47"/>
                  <a:gd name="T17" fmla="*/ 8 h 16"/>
                  <a:gd name="T18" fmla="*/ 0 w 47"/>
                  <a:gd name="T19" fmla="*/ 5 h 16"/>
                  <a:gd name="T20" fmla="*/ 2 w 47"/>
                  <a:gd name="T21" fmla="*/ 3 h 16"/>
                  <a:gd name="T22" fmla="*/ 6 w 47"/>
                  <a:gd name="T23" fmla="*/ 1 h 16"/>
                  <a:gd name="T24" fmla="*/ 9 w 47"/>
                  <a:gd name="T25" fmla="*/ 1 h 16"/>
                  <a:gd name="T26" fmla="*/ 9 w 47"/>
                  <a:gd name="T27" fmla="*/ 1 h 16"/>
                  <a:gd name="T28" fmla="*/ 18 w 47"/>
                  <a:gd name="T29" fmla="*/ 0 h 16"/>
                  <a:gd name="T30" fmla="*/ 27 w 47"/>
                  <a:gd name="T31" fmla="*/ 0 h 16"/>
                  <a:gd name="T32" fmla="*/ 47 w 47"/>
                  <a:gd name="T33" fmla="*/ 0 h 16"/>
                  <a:gd name="T34" fmla="*/ 47 w 47"/>
                  <a:gd name="T3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7" h="16">
                    <a:moveTo>
                      <a:pt x="47" y="0"/>
                    </a:moveTo>
                    <a:lnTo>
                      <a:pt x="47" y="0"/>
                    </a:lnTo>
                    <a:lnTo>
                      <a:pt x="39" y="16"/>
                    </a:lnTo>
                    <a:lnTo>
                      <a:pt x="39" y="16"/>
                    </a:lnTo>
                    <a:lnTo>
                      <a:pt x="16" y="15"/>
                    </a:lnTo>
                    <a:lnTo>
                      <a:pt x="16" y="15"/>
                    </a:lnTo>
                    <a:lnTo>
                      <a:pt x="8" y="12"/>
                    </a:lnTo>
                    <a:lnTo>
                      <a:pt x="0" y="8"/>
                    </a:lnTo>
                    <a:lnTo>
                      <a:pt x="0" y="8"/>
                    </a:lnTo>
                    <a:lnTo>
                      <a:pt x="0" y="5"/>
                    </a:lnTo>
                    <a:lnTo>
                      <a:pt x="2" y="3"/>
                    </a:lnTo>
                    <a:lnTo>
                      <a:pt x="6" y="1"/>
                    </a:lnTo>
                    <a:lnTo>
                      <a:pt x="9" y="1"/>
                    </a:lnTo>
                    <a:lnTo>
                      <a:pt x="9" y="1"/>
                    </a:lnTo>
                    <a:lnTo>
                      <a:pt x="18" y="0"/>
                    </a:lnTo>
                    <a:lnTo>
                      <a:pt x="27" y="0"/>
                    </a:lnTo>
                    <a:lnTo>
                      <a:pt x="47" y="0"/>
                    </a:lnTo>
                    <a:lnTo>
                      <a:pt x="4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404040"/>
                  </a:solidFill>
                </a:endParaRPr>
              </a:p>
            </p:txBody>
          </p:sp>
          <p:sp>
            <p:nvSpPr>
              <p:cNvPr id="4810" name="Freeform 28"/>
              <p:cNvSpPr>
                <a:spLocks/>
              </p:cNvSpPr>
              <p:nvPr/>
            </p:nvSpPr>
            <p:spPr bwMode="auto">
              <a:xfrm>
                <a:off x="5686743" y="3253443"/>
                <a:ext cx="11128" cy="31716"/>
              </a:xfrm>
              <a:custGeom>
                <a:avLst/>
                <a:gdLst>
                  <a:gd name="T0" fmla="*/ 10 w 20"/>
                  <a:gd name="T1" fmla="*/ 57 h 57"/>
                  <a:gd name="T2" fmla="*/ 10 w 20"/>
                  <a:gd name="T3" fmla="*/ 57 h 57"/>
                  <a:gd name="T4" fmla="*/ 5 w 20"/>
                  <a:gd name="T5" fmla="*/ 54 h 57"/>
                  <a:gd name="T6" fmla="*/ 0 w 20"/>
                  <a:gd name="T7" fmla="*/ 50 h 57"/>
                  <a:gd name="T8" fmla="*/ 0 w 20"/>
                  <a:gd name="T9" fmla="*/ 50 h 57"/>
                  <a:gd name="T10" fmla="*/ 3 w 20"/>
                  <a:gd name="T11" fmla="*/ 17 h 57"/>
                  <a:gd name="T12" fmla="*/ 3 w 20"/>
                  <a:gd name="T13" fmla="*/ 17 h 57"/>
                  <a:gd name="T14" fmla="*/ 12 w 20"/>
                  <a:gd name="T15" fmla="*/ 1 h 57"/>
                  <a:gd name="T16" fmla="*/ 12 w 20"/>
                  <a:gd name="T17" fmla="*/ 1 h 57"/>
                  <a:gd name="T18" fmla="*/ 12 w 20"/>
                  <a:gd name="T19" fmla="*/ 0 h 57"/>
                  <a:gd name="T20" fmla="*/ 12 w 20"/>
                  <a:gd name="T21" fmla="*/ 0 h 57"/>
                  <a:gd name="T22" fmla="*/ 15 w 20"/>
                  <a:gd name="T23" fmla="*/ 2 h 57"/>
                  <a:gd name="T24" fmla="*/ 18 w 20"/>
                  <a:gd name="T25" fmla="*/ 3 h 57"/>
                  <a:gd name="T26" fmla="*/ 18 w 20"/>
                  <a:gd name="T27" fmla="*/ 3 h 57"/>
                  <a:gd name="T28" fmla="*/ 20 w 20"/>
                  <a:gd name="T29" fmla="*/ 6 h 57"/>
                  <a:gd name="T30" fmla="*/ 20 w 20"/>
                  <a:gd name="T31" fmla="*/ 11 h 57"/>
                  <a:gd name="T32" fmla="*/ 19 w 20"/>
                  <a:gd name="T33" fmla="*/ 19 h 57"/>
                  <a:gd name="T34" fmla="*/ 19 w 20"/>
                  <a:gd name="T35" fmla="*/ 19 h 57"/>
                  <a:gd name="T36" fmla="*/ 16 w 20"/>
                  <a:gd name="T37" fmla="*/ 52 h 57"/>
                  <a:gd name="T38" fmla="*/ 16 w 20"/>
                  <a:gd name="T39" fmla="*/ 52 h 57"/>
                  <a:gd name="T40" fmla="*/ 13 w 20"/>
                  <a:gd name="T41" fmla="*/ 55 h 57"/>
                  <a:gd name="T42" fmla="*/ 10 w 20"/>
                  <a:gd name="T43" fmla="*/ 57 h 57"/>
                  <a:gd name="T44" fmla="*/ 10 w 20"/>
                  <a:gd name="T45"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 h="57">
                    <a:moveTo>
                      <a:pt x="10" y="57"/>
                    </a:moveTo>
                    <a:lnTo>
                      <a:pt x="10" y="57"/>
                    </a:lnTo>
                    <a:lnTo>
                      <a:pt x="5" y="54"/>
                    </a:lnTo>
                    <a:lnTo>
                      <a:pt x="0" y="50"/>
                    </a:lnTo>
                    <a:lnTo>
                      <a:pt x="0" y="50"/>
                    </a:lnTo>
                    <a:lnTo>
                      <a:pt x="3" y="17"/>
                    </a:lnTo>
                    <a:lnTo>
                      <a:pt x="3" y="17"/>
                    </a:lnTo>
                    <a:lnTo>
                      <a:pt x="12" y="1"/>
                    </a:lnTo>
                    <a:lnTo>
                      <a:pt x="12" y="1"/>
                    </a:lnTo>
                    <a:lnTo>
                      <a:pt x="12" y="0"/>
                    </a:lnTo>
                    <a:lnTo>
                      <a:pt x="12" y="0"/>
                    </a:lnTo>
                    <a:lnTo>
                      <a:pt x="15" y="2"/>
                    </a:lnTo>
                    <a:lnTo>
                      <a:pt x="18" y="3"/>
                    </a:lnTo>
                    <a:lnTo>
                      <a:pt x="18" y="3"/>
                    </a:lnTo>
                    <a:lnTo>
                      <a:pt x="20" y="6"/>
                    </a:lnTo>
                    <a:lnTo>
                      <a:pt x="20" y="11"/>
                    </a:lnTo>
                    <a:lnTo>
                      <a:pt x="19" y="19"/>
                    </a:lnTo>
                    <a:lnTo>
                      <a:pt x="19" y="19"/>
                    </a:lnTo>
                    <a:lnTo>
                      <a:pt x="16" y="52"/>
                    </a:lnTo>
                    <a:lnTo>
                      <a:pt x="16" y="52"/>
                    </a:lnTo>
                    <a:lnTo>
                      <a:pt x="13" y="55"/>
                    </a:lnTo>
                    <a:lnTo>
                      <a:pt x="10" y="57"/>
                    </a:lnTo>
                    <a:lnTo>
                      <a:pt x="10" y="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404040"/>
                  </a:solidFill>
                </a:endParaRPr>
              </a:p>
            </p:txBody>
          </p:sp>
          <p:sp>
            <p:nvSpPr>
              <p:cNvPr id="4811" name="Freeform 29"/>
              <p:cNvSpPr>
                <a:spLocks/>
              </p:cNvSpPr>
              <p:nvPr/>
            </p:nvSpPr>
            <p:spPr bwMode="auto">
              <a:xfrm>
                <a:off x="5701766" y="3253443"/>
                <a:ext cx="26708" cy="8903"/>
              </a:xfrm>
              <a:custGeom>
                <a:avLst/>
                <a:gdLst>
                  <a:gd name="T0" fmla="*/ 48 w 48"/>
                  <a:gd name="T1" fmla="*/ 0 h 16"/>
                  <a:gd name="T2" fmla="*/ 48 w 48"/>
                  <a:gd name="T3" fmla="*/ 0 h 16"/>
                  <a:gd name="T4" fmla="*/ 41 w 48"/>
                  <a:gd name="T5" fmla="*/ 16 h 16"/>
                  <a:gd name="T6" fmla="*/ 41 w 48"/>
                  <a:gd name="T7" fmla="*/ 16 h 16"/>
                  <a:gd name="T8" fmla="*/ 18 w 48"/>
                  <a:gd name="T9" fmla="*/ 15 h 16"/>
                  <a:gd name="T10" fmla="*/ 18 w 48"/>
                  <a:gd name="T11" fmla="*/ 15 h 16"/>
                  <a:gd name="T12" fmla="*/ 9 w 48"/>
                  <a:gd name="T13" fmla="*/ 12 h 16"/>
                  <a:gd name="T14" fmla="*/ 0 w 48"/>
                  <a:gd name="T15" fmla="*/ 8 h 16"/>
                  <a:gd name="T16" fmla="*/ 0 w 48"/>
                  <a:gd name="T17" fmla="*/ 8 h 16"/>
                  <a:gd name="T18" fmla="*/ 1 w 48"/>
                  <a:gd name="T19" fmla="*/ 5 h 16"/>
                  <a:gd name="T20" fmla="*/ 3 w 48"/>
                  <a:gd name="T21" fmla="*/ 3 h 16"/>
                  <a:gd name="T22" fmla="*/ 6 w 48"/>
                  <a:gd name="T23" fmla="*/ 1 h 16"/>
                  <a:gd name="T24" fmla="*/ 9 w 48"/>
                  <a:gd name="T25" fmla="*/ 1 h 16"/>
                  <a:gd name="T26" fmla="*/ 9 w 48"/>
                  <a:gd name="T27" fmla="*/ 1 h 16"/>
                  <a:gd name="T28" fmla="*/ 19 w 48"/>
                  <a:gd name="T29" fmla="*/ 0 h 16"/>
                  <a:gd name="T30" fmla="*/ 29 w 48"/>
                  <a:gd name="T31" fmla="*/ 0 h 16"/>
                  <a:gd name="T32" fmla="*/ 48 w 48"/>
                  <a:gd name="T33" fmla="*/ 0 h 16"/>
                  <a:gd name="T34" fmla="*/ 48 w 48"/>
                  <a:gd name="T3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16">
                    <a:moveTo>
                      <a:pt x="48" y="0"/>
                    </a:moveTo>
                    <a:lnTo>
                      <a:pt x="48" y="0"/>
                    </a:lnTo>
                    <a:lnTo>
                      <a:pt x="41" y="16"/>
                    </a:lnTo>
                    <a:lnTo>
                      <a:pt x="41" y="16"/>
                    </a:lnTo>
                    <a:lnTo>
                      <a:pt x="18" y="15"/>
                    </a:lnTo>
                    <a:lnTo>
                      <a:pt x="18" y="15"/>
                    </a:lnTo>
                    <a:lnTo>
                      <a:pt x="9" y="12"/>
                    </a:lnTo>
                    <a:lnTo>
                      <a:pt x="0" y="8"/>
                    </a:lnTo>
                    <a:lnTo>
                      <a:pt x="0" y="8"/>
                    </a:lnTo>
                    <a:lnTo>
                      <a:pt x="1" y="5"/>
                    </a:lnTo>
                    <a:lnTo>
                      <a:pt x="3" y="3"/>
                    </a:lnTo>
                    <a:lnTo>
                      <a:pt x="6" y="1"/>
                    </a:lnTo>
                    <a:lnTo>
                      <a:pt x="9" y="1"/>
                    </a:lnTo>
                    <a:lnTo>
                      <a:pt x="9" y="1"/>
                    </a:lnTo>
                    <a:lnTo>
                      <a:pt x="19" y="0"/>
                    </a:lnTo>
                    <a:lnTo>
                      <a:pt x="29" y="0"/>
                    </a:lnTo>
                    <a:lnTo>
                      <a:pt x="48" y="0"/>
                    </a:lnTo>
                    <a:lnTo>
                      <a:pt x="4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404040"/>
                  </a:solidFill>
                </a:endParaRPr>
              </a:p>
            </p:txBody>
          </p:sp>
          <p:sp>
            <p:nvSpPr>
              <p:cNvPr id="4812" name="Freeform 30"/>
              <p:cNvSpPr>
                <a:spLocks/>
              </p:cNvSpPr>
              <p:nvPr/>
            </p:nvSpPr>
            <p:spPr bwMode="auto">
              <a:xfrm>
                <a:off x="5723466" y="3253443"/>
                <a:ext cx="10572" cy="31716"/>
              </a:xfrm>
              <a:custGeom>
                <a:avLst/>
                <a:gdLst>
                  <a:gd name="T0" fmla="*/ 9 w 19"/>
                  <a:gd name="T1" fmla="*/ 57 h 57"/>
                  <a:gd name="T2" fmla="*/ 9 w 19"/>
                  <a:gd name="T3" fmla="*/ 57 h 57"/>
                  <a:gd name="T4" fmla="*/ 5 w 19"/>
                  <a:gd name="T5" fmla="*/ 53 h 57"/>
                  <a:gd name="T6" fmla="*/ 0 w 19"/>
                  <a:gd name="T7" fmla="*/ 49 h 57"/>
                  <a:gd name="T8" fmla="*/ 0 w 19"/>
                  <a:gd name="T9" fmla="*/ 49 h 57"/>
                  <a:gd name="T10" fmla="*/ 3 w 19"/>
                  <a:gd name="T11" fmla="*/ 17 h 57"/>
                  <a:gd name="T12" fmla="*/ 3 w 19"/>
                  <a:gd name="T13" fmla="*/ 17 h 57"/>
                  <a:gd name="T14" fmla="*/ 11 w 19"/>
                  <a:gd name="T15" fmla="*/ 1 h 57"/>
                  <a:gd name="T16" fmla="*/ 11 w 19"/>
                  <a:gd name="T17" fmla="*/ 1 h 57"/>
                  <a:gd name="T18" fmla="*/ 11 w 19"/>
                  <a:gd name="T19" fmla="*/ 0 h 57"/>
                  <a:gd name="T20" fmla="*/ 11 w 19"/>
                  <a:gd name="T21" fmla="*/ 0 h 57"/>
                  <a:gd name="T22" fmla="*/ 17 w 19"/>
                  <a:gd name="T23" fmla="*/ 3 h 57"/>
                  <a:gd name="T24" fmla="*/ 18 w 19"/>
                  <a:gd name="T25" fmla="*/ 4 h 57"/>
                  <a:gd name="T26" fmla="*/ 19 w 19"/>
                  <a:gd name="T27" fmla="*/ 7 h 57"/>
                  <a:gd name="T28" fmla="*/ 19 w 19"/>
                  <a:gd name="T29" fmla="*/ 7 h 57"/>
                  <a:gd name="T30" fmla="*/ 18 w 19"/>
                  <a:gd name="T31" fmla="*/ 30 h 57"/>
                  <a:gd name="T32" fmla="*/ 16 w 19"/>
                  <a:gd name="T33" fmla="*/ 52 h 57"/>
                  <a:gd name="T34" fmla="*/ 16 w 19"/>
                  <a:gd name="T35" fmla="*/ 52 h 57"/>
                  <a:gd name="T36" fmla="*/ 12 w 19"/>
                  <a:gd name="T37" fmla="*/ 55 h 57"/>
                  <a:gd name="T38" fmla="*/ 9 w 19"/>
                  <a:gd name="T39" fmla="*/ 57 h 57"/>
                  <a:gd name="T40" fmla="*/ 9 w 19"/>
                  <a:gd name="T41"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 h="57">
                    <a:moveTo>
                      <a:pt x="9" y="57"/>
                    </a:moveTo>
                    <a:lnTo>
                      <a:pt x="9" y="57"/>
                    </a:lnTo>
                    <a:lnTo>
                      <a:pt x="5" y="53"/>
                    </a:lnTo>
                    <a:lnTo>
                      <a:pt x="0" y="49"/>
                    </a:lnTo>
                    <a:lnTo>
                      <a:pt x="0" y="49"/>
                    </a:lnTo>
                    <a:lnTo>
                      <a:pt x="3" y="17"/>
                    </a:lnTo>
                    <a:lnTo>
                      <a:pt x="3" y="17"/>
                    </a:lnTo>
                    <a:lnTo>
                      <a:pt x="11" y="1"/>
                    </a:lnTo>
                    <a:lnTo>
                      <a:pt x="11" y="1"/>
                    </a:lnTo>
                    <a:lnTo>
                      <a:pt x="11" y="0"/>
                    </a:lnTo>
                    <a:lnTo>
                      <a:pt x="11" y="0"/>
                    </a:lnTo>
                    <a:lnTo>
                      <a:pt x="17" y="3"/>
                    </a:lnTo>
                    <a:lnTo>
                      <a:pt x="18" y="4"/>
                    </a:lnTo>
                    <a:lnTo>
                      <a:pt x="19" y="7"/>
                    </a:lnTo>
                    <a:lnTo>
                      <a:pt x="19" y="7"/>
                    </a:lnTo>
                    <a:lnTo>
                      <a:pt x="18" y="30"/>
                    </a:lnTo>
                    <a:lnTo>
                      <a:pt x="16" y="52"/>
                    </a:lnTo>
                    <a:lnTo>
                      <a:pt x="16" y="52"/>
                    </a:lnTo>
                    <a:lnTo>
                      <a:pt x="12" y="55"/>
                    </a:lnTo>
                    <a:lnTo>
                      <a:pt x="9" y="57"/>
                    </a:lnTo>
                    <a:lnTo>
                      <a:pt x="9" y="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404040"/>
                  </a:solidFill>
                </a:endParaRPr>
              </a:p>
            </p:txBody>
          </p:sp>
          <p:sp>
            <p:nvSpPr>
              <p:cNvPr id="4813" name="Freeform 31"/>
              <p:cNvSpPr>
                <a:spLocks/>
              </p:cNvSpPr>
              <p:nvPr/>
            </p:nvSpPr>
            <p:spPr bwMode="auto">
              <a:xfrm>
                <a:off x="5703991" y="3281820"/>
                <a:ext cx="23369" cy="8903"/>
              </a:xfrm>
              <a:custGeom>
                <a:avLst/>
                <a:gdLst>
                  <a:gd name="T0" fmla="*/ 42 w 42"/>
                  <a:gd name="T1" fmla="*/ 9 h 16"/>
                  <a:gd name="T2" fmla="*/ 42 w 42"/>
                  <a:gd name="T3" fmla="*/ 9 h 16"/>
                  <a:gd name="T4" fmla="*/ 33 w 42"/>
                  <a:gd name="T5" fmla="*/ 16 h 16"/>
                  <a:gd name="T6" fmla="*/ 33 w 42"/>
                  <a:gd name="T7" fmla="*/ 16 h 16"/>
                  <a:gd name="T8" fmla="*/ 21 w 42"/>
                  <a:gd name="T9" fmla="*/ 16 h 16"/>
                  <a:gd name="T10" fmla="*/ 9 w 42"/>
                  <a:gd name="T11" fmla="*/ 16 h 16"/>
                  <a:gd name="T12" fmla="*/ 9 w 42"/>
                  <a:gd name="T13" fmla="*/ 16 h 16"/>
                  <a:gd name="T14" fmla="*/ 0 w 42"/>
                  <a:gd name="T15" fmla="*/ 9 h 16"/>
                  <a:gd name="T16" fmla="*/ 0 w 42"/>
                  <a:gd name="T17" fmla="*/ 9 h 16"/>
                  <a:gd name="T18" fmla="*/ 10 w 42"/>
                  <a:gd name="T19" fmla="*/ 1 h 16"/>
                  <a:gd name="T20" fmla="*/ 10 w 42"/>
                  <a:gd name="T21" fmla="*/ 1 h 16"/>
                  <a:gd name="T22" fmla="*/ 33 w 42"/>
                  <a:gd name="T23" fmla="*/ 0 h 16"/>
                  <a:gd name="T24" fmla="*/ 33 w 42"/>
                  <a:gd name="T25" fmla="*/ 0 h 16"/>
                  <a:gd name="T26" fmla="*/ 38 w 42"/>
                  <a:gd name="T27" fmla="*/ 4 h 16"/>
                  <a:gd name="T28" fmla="*/ 42 w 42"/>
                  <a:gd name="T29" fmla="*/ 9 h 16"/>
                  <a:gd name="T30" fmla="*/ 42 w 42"/>
                  <a:gd name="T31" fmla="*/ 9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2" h="16">
                    <a:moveTo>
                      <a:pt x="42" y="9"/>
                    </a:moveTo>
                    <a:lnTo>
                      <a:pt x="42" y="9"/>
                    </a:lnTo>
                    <a:lnTo>
                      <a:pt x="33" y="16"/>
                    </a:lnTo>
                    <a:lnTo>
                      <a:pt x="33" y="16"/>
                    </a:lnTo>
                    <a:lnTo>
                      <a:pt x="21" y="16"/>
                    </a:lnTo>
                    <a:lnTo>
                      <a:pt x="9" y="16"/>
                    </a:lnTo>
                    <a:lnTo>
                      <a:pt x="9" y="16"/>
                    </a:lnTo>
                    <a:lnTo>
                      <a:pt x="0" y="9"/>
                    </a:lnTo>
                    <a:lnTo>
                      <a:pt x="0" y="9"/>
                    </a:lnTo>
                    <a:lnTo>
                      <a:pt x="10" y="1"/>
                    </a:lnTo>
                    <a:lnTo>
                      <a:pt x="10" y="1"/>
                    </a:lnTo>
                    <a:lnTo>
                      <a:pt x="33" y="0"/>
                    </a:lnTo>
                    <a:lnTo>
                      <a:pt x="33" y="0"/>
                    </a:lnTo>
                    <a:lnTo>
                      <a:pt x="38" y="4"/>
                    </a:lnTo>
                    <a:lnTo>
                      <a:pt x="42" y="9"/>
                    </a:lnTo>
                    <a:lnTo>
                      <a:pt x="42"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404040"/>
                  </a:solidFill>
                </a:endParaRPr>
              </a:p>
            </p:txBody>
          </p:sp>
          <p:sp>
            <p:nvSpPr>
              <p:cNvPr id="4814" name="Freeform 32"/>
              <p:cNvSpPr>
                <a:spLocks/>
              </p:cNvSpPr>
              <p:nvPr/>
            </p:nvSpPr>
            <p:spPr bwMode="auto">
              <a:xfrm>
                <a:off x="5684517" y="3287384"/>
                <a:ext cx="10015" cy="31716"/>
              </a:xfrm>
              <a:custGeom>
                <a:avLst/>
                <a:gdLst>
                  <a:gd name="T0" fmla="*/ 6 w 18"/>
                  <a:gd name="T1" fmla="*/ 57 h 57"/>
                  <a:gd name="T2" fmla="*/ 6 w 18"/>
                  <a:gd name="T3" fmla="*/ 57 h 57"/>
                  <a:gd name="T4" fmla="*/ 3 w 18"/>
                  <a:gd name="T5" fmla="*/ 49 h 57"/>
                  <a:gd name="T6" fmla="*/ 0 w 18"/>
                  <a:gd name="T7" fmla="*/ 41 h 57"/>
                  <a:gd name="T8" fmla="*/ 0 w 18"/>
                  <a:gd name="T9" fmla="*/ 41 h 57"/>
                  <a:gd name="T10" fmla="*/ 3 w 18"/>
                  <a:gd name="T11" fmla="*/ 8 h 57"/>
                  <a:gd name="T12" fmla="*/ 3 w 18"/>
                  <a:gd name="T13" fmla="*/ 8 h 57"/>
                  <a:gd name="T14" fmla="*/ 13 w 18"/>
                  <a:gd name="T15" fmla="*/ 0 h 57"/>
                  <a:gd name="T16" fmla="*/ 13 w 18"/>
                  <a:gd name="T17" fmla="*/ 0 h 57"/>
                  <a:gd name="T18" fmla="*/ 13 w 18"/>
                  <a:gd name="T19" fmla="*/ 0 h 57"/>
                  <a:gd name="T20" fmla="*/ 14 w 18"/>
                  <a:gd name="T21" fmla="*/ 0 h 57"/>
                  <a:gd name="T22" fmla="*/ 14 w 18"/>
                  <a:gd name="T23" fmla="*/ 0 h 57"/>
                  <a:gd name="T24" fmla="*/ 16 w 18"/>
                  <a:gd name="T25" fmla="*/ 2 h 57"/>
                  <a:gd name="T26" fmla="*/ 18 w 18"/>
                  <a:gd name="T27" fmla="*/ 4 h 57"/>
                  <a:gd name="T28" fmla="*/ 18 w 18"/>
                  <a:gd name="T29" fmla="*/ 4 h 57"/>
                  <a:gd name="T30" fmla="*/ 17 w 18"/>
                  <a:gd name="T31" fmla="*/ 29 h 57"/>
                  <a:gd name="T32" fmla="*/ 15 w 18"/>
                  <a:gd name="T33" fmla="*/ 52 h 57"/>
                  <a:gd name="T34" fmla="*/ 15 w 18"/>
                  <a:gd name="T35" fmla="*/ 52 h 57"/>
                  <a:gd name="T36" fmla="*/ 13 w 18"/>
                  <a:gd name="T37" fmla="*/ 54 h 57"/>
                  <a:gd name="T38" fmla="*/ 11 w 18"/>
                  <a:gd name="T39" fmla="*/ 55 h 57"/>
                  <a:gd name="T40" fmla="*/ 6 w 18"/>
                  <a:gd name="T41" fmla="*/ 57 h 57"/>
                  <a:gd name="T42" fmla="*/ 6 w 18"/>
                  <a:gd name="T43"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57">
                    <a:moveTo>
                      <a:pt x="6" y="57"/>
                    </a:moveTo>
                    <a:lnTo>
                      <a:pt x="6" y="57"/>
                    </a:lnTo>
                    <a:lnTo>
                      <a:pt x="3" y="49"/>
                    </a:lnTo>
                    <a:lnTo>
                      <a:pt x="0" y="41"/>
                    </a:lnTo>
                    <a:lnTo>
                      <a:pt x="0" y="41"/>
                    </a:lnTo>
                    <a:lnTo>
                      <a:pt x="3" y="8"/>
                    </a:lnTo>
                    <a:lnTo>
                      <a:pt x="3" y="8"/>
                    </a:lnTo>
                    <a:lnTo>
                      <a:pt x="13" y="0"/>
                    </a:lnTo>
                    <a:lnTo>
                      <a:pt x="13" y="0"/>
                    </a:lnTo>
                    <a:lnTo>
                      <a:pt x="13" y="0"/>
                    </a:lnTo>
                    <a:lnTo>
                      <a:pt x="14" y="0"/>
                    </a:lnTo>
                    <a:lnTo>
                      <a:pt x="14" y="0"/>
                    </a:lnTo>
                    <a:lnTo>
                      <a:pt x="16" y="2"/>
                    </a:lnTo>
                    <a:lnTo>
                      <a:pt x="18" y="4"/>
                    </a:lnTo>
                    <a:lnTo>
                      <a:pt x="18" y="4"/>
                    </a:lnTo>
                    <a:lnTo>
                      <a:pt x="17" y="29"/>
                    </a:lnTo>
                    <a:lnTo>
                      <a:pt x="15" y="52"/>
                    </a:lnTo>
                    <a:lnTo>
                      <a:pt x="15" y="52"/>
                    </a:lnTo>
                    <a:lnTo>
                      <a:pt x="13" y="54"/>
                    </a:lnTo>
                    <a:lnTo>
                      <a:pt x="11" y="55"/>
                    </a:lnTo>
                    <a:lnTo>
                      <a:pt x="6" y="57"/>
                    </a:lnTo>
                    <a:lnTo>
                      <a:pt x="6" y="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404040"/>
                  </a:solidFill>
                </a:endParaRPr>
              </a:p>
            </p:txBody>
          </p:sp>
          <p:sp>
            <p:nvSpPr>
              <p:cNvPr id="4815" name="Freeform 33"/>
              <p:cNvSpPr>
                <a:spLocks/>
              </p:cNvSpPr>
              <p:nvPr/>
            </p:nvSpPr>
            <p:spPr bwMode="auto">
              <a:xfrm>
                <a:off x="5697315" y="3287940"/>
                <a:ext cx="11128" cy="25595"/>
              </a:xfrm>
              <a:custGeom>
                <a:avLst/>
                <a:gdLst>
                  <a:gd name="T0" fmla="*/ 20 w 20"/>
                  <a:gd name="T1" fmla="*/ 6 h 46"/>
                  <a:gd name="T2" fmla="*/ 20 w 20"/>
                  <a:gd name="T3" fmla="*/ 6 h 46"/>
                  <a:gd name="T4" fmla="*/ 17 w 20"/>
                  <a:gd name="T5" fmla="*/ 40 h 46"/>
                  <a:gd name="T6" fmla="*/ 17 w 20"/>
                  <a:gd name="T7" fmla="*/ 40 h 46"/>
                  <a:gd name="T8" fmla="*/ 0 w 20"/>
                  <a:gd name="T9" fmla="*/ 46 h 46"/>
                  <a:gd name="T10" fmla="*/ 0 w 20"/>
                  <a:gd name="T11" fmla="*/ 46 h 46"/>
                  <a:gd name="T12" fmla="*/ 4 w 20"/>
                  <a:gd name="T13" fmla="*/ 5 h 46"/>
                  <a:gd name="T14" fmla="*/ 4 w 20"/>
                  <a:gd name="T15" fmla="*/ 5 h 46"/>
                  <a:gd name="T16" fmla="*/ 7 w 20"/>
                  <a:gd name="T17" fmla="*/ 2 h 46"/>
                  <a:gd name="T18" fmla="*/ 11 w 20"/>
                  <a:gd name="T19" fmla="*/ 0 h 46"/>
                  <a:gd name="T20" fmla="*/ 11 w 20"/>
                  <a:gd name="T21" fmla="*/ 0 h 46"/>
                  <a:gd name="T22" fmla="*/ 20 w 20"/>
                  <a:gd name="T23" fmla="*/ 6 h 46"/>
                  <a:gd name="T24" fmla="*/ 20 w 20"/>
                  <a:gd name="T25" fmla="*/ 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46">
                    <a:moveTo>
                      <a:pt x="20" y="6"/>
                    </a:moveTo>
                    <a:lnTo>
                      <a:pt x="20" y="6"/>
                    </a:lnTo>
                    <a:lnTo>
                      <a:pt x="17" y="40"/>
                    </a:lnTo>
                    <a:lnTo>
                      <a:pt x="17" y="40"/>
                    </a:lnTo>
                    <a:lnTo>
                      <a:pt x="0" y="46"/>
                    </a:lnTo>
                    <a:lnTo>
                      <a:pt x="0" y="46"/>
                    </a:lnTo>
                    <a:lnTo>
                      <a:pt x="4" y="5"/>
                    </a:lnTo>
                    <a:lnTo>
                      <a:pt x="4" y="5"/>
                    </a:lnTo>
                    <a:lnTo>
                      <a:pt x="7" y="2"/>
                    </a:lnTo>
                    <a:lnTo>
                      <a:pt x="11" y="0"/>
                    </a:lnTo>
                    <a:lnTo>
                      <a:pt x="11" y="0"/>
                    </a:lnTo>
                    <a:lnTo>
                      <a:pt x="20" y="6"/>
                    </a:lnTo>
                    <a:lnTo>
                      <a:pt x="20"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404040"/>
                  </a:solidFill>
                </a:endParaRPr>
              </a:p>
            </p:txBody>
          </p:sp>
          <p:sp>
            <p:nvSpPr>
              <p:cNvPr id="4816" name="Freeform 34"/>
              <p:cNvSpPr>
                <a:spLocks/>
              </p:cNvSpPr>
              <p:nvPr/>
            </p:nvSpPr>
            <p:spPr bwMode="auto">
              <a:xfrm>
                <a:off x="5697315" y="3310753"/>
                <a:ext cx="25595" cy="8346"/>
              </a:xfrm>
              <a:custGeom>
                <a:avLst/>
                <a:gdLst>
                  <a:gd name="T0" fmla="*/ 41 w 46"/>
                  <a:gd name="T1" fmla="*/ 0 h 15"/>
                  <a:gd name="T2" fmla="*/ 41 w 46"/>
                  <a:gd name="T3" fmla="*/ 0 h 15"/>
                  <a:gd name="T4" fmla="*/ 46 w 46"/>
                  <a:gd name="T5" fmla="*/ 15 h 15"/>
                  <a:gd name="T6" fmla="*/ 46 w 46"/>
                  <a:gd name="T7" fmla="*/ 15 h 15"/>
                  <a:gd name="T8" fmla="*/ 26 w 46"/>
                  <a:gd name="T9" fmla="*/ 15 h 15"/>
                  <a:gd name="T10" fmla="*/ 6 w 46"/>
                  <a:gd name="T11" fmla="*/ 15 h 15"/>
                  <a:gd name="T12" fmla="*/ 6 w 46"/>
                  <a:gd name="T13" fmla="*/ 15 h 15"/>
                  <a:gd name="T14" fmla="*/ 4 w 46"/>
                  <a:gd name="T15" fmla="*/ 14 h 15"/>
                  <a:gd name="T16" fmla="*/ 2 w 46"/>
                  <a:gd name="T17" fmla="*/ 12 h 15"/>
                  <a:gd name="T18" fmla="*/ 0 w 46"/>
                  <a:gd name="T19" fmla="*/ 8 h 15"/>
                  <a:gd name="T20" fmla="*/ 0 w 46"/>
                  <a:gd name="T21" fmla="*/ 8 h 15"/>
                  <a:gd name="T22" fmla="*/ 8 w 46"/>
                  <a:gd name="T23" fmla="*/ 4 h 15"/>
                  <a:gd name="T24" fmla="*/ 18 w 46"/>
                  <a:gd name="T25" fmla="*/ 0 h 15"/>
                  <a:gd name="T26" fmla="*/ 18 w 46"/>
                  <a:gd name="T27" fmla="*/ 0 h 15"/>
                  <a:gd name="T28" fmla="*/ 41 w 46"/>
                  <a:gd name="T29" fmla="*/ 0 h 15"/>
                  <a:gd name="T30" fmla="*/ 41 w 46"/>
                  <a:gd name="T31"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6" h="15">
                    <a:moveTo>
                      <a:pt x="41" y="0"/>
                    </a:moveTo>
                    <a:lnTo>
                      <a:pt x="41" y="0"/>
                    </a:lnTo>
                    <a:lnTo>
                      <a:pt x="46" y="15"/>
                    </a:lnTo>
                    <a:lnTo>
                      <a:pt x="46" y="15"/>
                    </a:lnTo>
                    <a:lnTo>
                      <a:pt x="26" y="15"/>
                    </a:lnTo>
                    <a:lnTo>
                      <a:pt x="6" y="15"/>
                    </a:lnTo>
                    <a:lnTo>
                      <a:pt x="6" y="15"/>
                    </a:lnTo>
                    <a:lnTo>
                      <a:pt x="4" y="14"/>
                    </a:lnTo>
                    <a:lnTo>
                      <a:pt x="2" y="12"/>
                    </a:lnTo>
                    <a:lnTo>
                      <a:pt x="0" y="8"/>
                    </a:lnTo>
                    <a:lnTo>
                      <a:pt x="0" y="8"/>
                    </a:lnTo>
                    <a:lnTo>
                      <a:pt x="8" y="4"/>
                    </a:lnTo>
                    <a:lnTo>
                      <a:pt x="18" y="0"/>
                    </a:lnTo>
                    <a:lnTo>
                      <a:pt x="18" y="0"/>
                    </a:lnTo>
                    <a:lnTo>
                      <a:pt x="41" y="0"/>
                    </a:lnTo>
                    <a:lnTo>
                      <a:pt x="4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404040"/>
                  </a:solidFill>
                </a:endParaRPr>
              </a:p>
            </p:txBody>
          </p:sp>
          <p:sp>
            <p:nvSpPr>
              <p:cNvPr id="4817" name="Freeform 35"/>
              <p:cNvSpPr>
                <a:spLocks/>
              </p:cNvSpPr>
              <p:nvPr/>
            </p:nvSpPr>
            <p:spPr bwMode="auto">
              <a:xfrm>
                <a:off x="5741271" y="3252330"/>
                <a:ext cx="26151" cy="8346"/>
              </a:xfrm>
              <a:custGeom>
                <a:avLst/>
                <a:gdLst>
                  <a:gd name="T0" fmla="*/ 47 w 47"/>
                  <a:gd name="T1" fmla="*/ 0 h 15"/>
                  <a:gd name="T2" fmla="*/ 47 w 47"/>
                  <a:gd name="T3" fmla="*/ 0 h 15"/>
                  <a:gd name="T4" fmla="*/ 39 w 47"/>
                  <a:gd name="T5" fmla="*/ 15 h 15"/>
                  <a:gd name="T6" fmla="*/ 39 w 47"/>
                  <a:gd name="T7" fmla="*/ 15 h 15"/>
                  <a:gd name="T8" fmla="*/ 16 w 47"/>
                  <a:gd name="T9" fmla="*/ 15 h 15"/>
                  <a:gd name="T10" fmla="*/ 16 w 47"/>
                  <a:gd name="T11" fmla="*/ 15 h 15"/>
                  <a:gd name="T12" fmla="*/ 8 w 47"/>
                  <a:gd name="T13" fmla="*/ 12 h 15"/>
                  <a:gd name="T14" fmla="*/ 0 w 47"/>
                  <a:gd name="T15" fmla="*/ 8 h 15"/>
                  <a:gd name="T16" fmla="*/ 0 w 47"/>
                  <a:gd name="T17" fmla="*/ 8 h 15"/>
                  <a:gd name="T18" fmla="*/ 0 w 47"/>
                  <a:gd name="T19" fmla="*/ 5 h 15"/>
                  <a:gd name="T20" fmla="*/ 2 w 47"/>
                  <a:gd name="T21" fmla="*/ 2 h 15"/>
                  <a:gd name="T22" fmla="*/ 4 w 47"/>
                  <a:gd name="T23" fmla="*/ 1 h 15"/>
                  <a:gd name="T24" fmla="*/ 9 w 47"/>
                  <a:gd name="T25" fmla="*/ 0 h 15"/>
                  <a:gd name="T26" fmla="*/ 9 w 47"/>
                  <a:gd name="T27" fmla="*/ 0 h 15"/>
                  <a:gd name="T28" fmla="*/ 17 w 47"/>
                  <a:gd name="T29" fmla="*/ 0 h 15"/>
                  <a:gd name="T30" fmla="*/ 27 w 47"/>
                  <a:gd name="T31" fmla="*/ 0 h 15"/>
                  <a:gd name="T32" fmla="*/ 47 w 47"/>
                  <a:gd name="T33" fmla="*/ 0 h 15"/>
                  <a:gd name="T34" fmla="*/ 47 w 47"/>
                  <a:gd name="T35"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7" h="15">
                    <a:moveTo>
                      <a:pt x="47" y="0"/>
                    </a:moveTo>
                    <a:lnTo>
                      <a:pt x="47" y="0"/>
                    </a:lnTo>
                    <a:lnTo>
                      <a:pt x="39" y="15"/>
                    </a:lnTo>
                    <a:lnTo>
                      <a:pt x="39" y="15"/>
                    </a:lnTo>
                    <a:lnTo>
                      <a:pt x="16" y="15"/>
                    </a:lnTo>
                    <a:lnTo>
                      <a:pt x="16" y="15"/>
                    </a:lnTo>
                    <a:lnTo>
                      <a:pt x="8" y="12"/>
                    </a:lnTo>
                    <a:lnTo>
                      <a:pt x="0" y="8"/>
                    </a:lnTo>
                    <a:lnTo>
                      <a:pt x="0" y="8"/>
                    </a:lnTo>
                    <a:lnTo>
                      <a:pt x="0" y="5"/>
                    </a:lnTo>
                    <a:lnTo>
                      <a:pt x="2" y="2"/>
                    </a:lnTo>
                    <a:lnTo>
                      <a:pt x="4" y="1"/>
                    </a:lnTo>
                    <a:lnTo>
                      <a:pt x="9" y="0"/>
                    </a:lnTo>
                    <a:lnTo>
                      <a:pt x="9" y="0"/>
                    </a:lnTo>
                    <a:lnTo>
                      <a:pt x="17" y="0"/>
                    </a:lnTo>
                    <a:lnTo>
                      <a:pt x="27" y="0"/>
                    </a:lnTo>
                    <a:lnTo>
                      <a:pt x="47" y="0"/>
                    </a:lnTo>
                    <a:lnTo>
                      <a:pt x="4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404040"/>
                  </a:solidFill>
                </a:endParaRPr>
              </a:p>
            </p:txBody>
          </p:sp>
          <p:sp>
            <p:nvSpPr>
              <p:cNvPr id="4818" name="Freeform 36"/>
              <p:cNvSpPr>
                <a:spLocks/>
              </p:cNvSpPr>
              <p:nvPr/>
            </p:nvSpPr>
            <p:spPr bwMode="auto">
              <a:xfrm>
                <a:off x="5762415" y="3252330"/>
                <a:ext cx="11128" cy="31716"/>
              </a:xfrm>
              <a:custGeom>
                <a:avLst/>
                <a:gdLst>
                  <a:gd name="T0" fmla="*/ 10 w 20"/>
                  <a:gd name="T1" fmla="*/ 57 h 57"/>
                  <a:gd name="T2" fmla="*/ 10 w 20"/>
                  <a:gd name="T3" fmla="*/ 57 h 57"/>
                  <a:gd name="T4" fmla="*/ 4 w 20"/>
                  <a:gd name="T5" fmla="*/ 53 h 57"/>
                  <a:gd name="T6" fmla="*/ 0 w 20"/>
                  <a:gd name="T7" fmla="*/ 49 h 57"/>
                  <a:gd name="T8" fmla="*/ 0 w 20"/>
                  <a:gd name="T9" fmla="*/ 49 h 57"/>
                  <a:gd name="T10" fmla="*/ 3 w 20"/>
                  <a:gd name="T11" fmla="*/ 17 h 57"/>
                  <a:gd name="T12" fmla="*/ 3 w 20"/>
                  <a:gd name="T13" fmla="*/ 17 h 57"/>
                  <a:gd name="T14" fmla="*/ 12 w 20"/>
                  <a:gd name="T15" fmla="*/ 0 h 57"/>
                  <a:gd name="T16" fmla="*/ 12 w 20"/>
                  <a:gd name="T17" fmla="*/ 0 h 57"/>
                  <a:gd name="T18" fmla="*/ 12 w 20"/>
                  <a:gd name="T19" fmla="*/ 0 h 57"/>
                  <a:gd name="T20" fmla="*/ 12 w 20"/>
                  <a:gd name="T21" fmla="*/ 0 h 57"/>
                  <a:gd name="T22" fmla="*/ 16 w 20"/>
                  <a:gd name="T23" fmla="*/ 2 h 57"/>
                  <a:gd name="T24" fmla="*/ 19 w 20"/>
                  <a:gd name="T25" fmla="*/ 4 h 57"/>
                  <a:gd name="T26" fmla="*/ 20 w 20"/>
                  <a:gd name="T27" fmla="*/ 6 h 57"/>
                  <a:gd name="T28" fmla="*/ 20 w 20"/>
                  <a:gd name="T29" fmla="*/ 6 h 57"/>
                  <a:gd name="T30" fmla="*/ 17 w 20"/>
                  <a:gd name="T31" fmla="*/ 29 h 57"/>
                  <a:gd name="T32" fmla="*/ 16 w 20"/>
                  <a:gd name="T33" fmla="*/ 52 h 57"/>
                  <a:gd name="T34" fmla="*/ 16 w 20"/>
                  <a:gd name="T35" fmla="*/ 52 h 57"/>
                  <a:gd name="T36" fmla="*/ 13 w 20"/>
                  <a:gd name="T37" fmla="*/ 54 h 57"/>
                  <a:gd name="T38" fmla="*/ 10 w 20"/>
                  <a:gd name="T39" fmla="*/ 57 h 57"/>
                  <a:gd name="T40" fmla="*/ 10 w 20"/>
                  <a:gd name="T41"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57">
                    <a:moveTo>
                      <a:pt x="10" y="57"/>
                    </a:moveTo>
                    <a:lnTo>
                      <a:pt x="10" y="57"/>
                    </a:lnTo>
                    <a:lnTo>
                      <a:pt x="4" y="53"/>
                    </a:lnTo>
                    <a:lnTo>
                      <a:pt x="0" y="49"/>
                    </a:lnTo>
                    <a:lnTo>
                      <a:pt x="0" y="49"/>
                    </a:lnTo>
                    <a:lnTo>
                      <a:pt x="3" y="17"/>
                    </a:lnTo>
                    <a:lnTo>
                      <a:pt x="3" y="17"/>
                    </a:lnTo>
                    <a:lnTo>
                      <a:pt x="12" y="0"/>
                    </a:lnTo>
                    <a:lnTo>
                      <a:pt x="12" y="0"/>
                    </a:lnTo>
                    <a:lnTo>
                      <a:pt x="12" y="0"/>
                    </a:lnTo>
                    <a:lnTo>
                      <a:pt x="12" y="0"/>
                    </a:lnTo>
                    <a:lnTo>
                      <a:pt x="16" y="2"/>
                    </a:lnTo>
                    <a:lnTo>
                      <a:pt x="19" y="4"/>
                    </a:lnTo>
                    <a:lnTo>
                      <a:pt x="20" y="6"/>
                    </a:lnTo>
                    <a:lnTo>
                      <a:pt x="20" y="6"/>
                    </a:lnTo>
                    <a:lnTo>
                      <a:pt x="17" y="29"/>
                    </a:lnTo>
                    <a:lnTo>
                      <a:pt x="16" y="52"/>
                    </a:lnTo>
                    <a:lnTo>
                      <a:pt x="16" y="52"/>
                    </a:lnTo>
                    <a:lnTo>
                      <a:pt x="13" y="54"/>
                    </a:lnTo>
                    <a:lnTo>
                      <a:pt x="10" y="57"/>
                    </a:lnTo>
                    <a:lnTo>
                      <a:pt x="10" y="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404040"/>
                  </a:solidFill>
                </a:endParaRPr>
              </a:p>
            </p:txBody>
          </p:sp>
          <p:sp>
            <p:nvSpPr>
              <p:cNvPr id="4819" name="Freeform 37"/>
              <p:cNvSpPr>
                <a:spLocks/>
              </p:cNvSpPr>
              <p:nvPr/>
            </p:nvSpPr>
            <p:spPr bwMode="auto">
              <a:xfrm>
                <a:off x="5739045" y="3257894"/>
                <a:ext cx="10015" cy="26151"/>
              </a:xfrm>
              <a:custGeom>
                <a:avLst/>
                <a:gdLst>
                  <a:gd name="T0" fmla="*/ 4 w 18"/>
                  <a:gd name="T1" fmla="*/ 0 h 47"/>
                  <a:gd name="T2" fmla="*/ 4 w 18"/>
                  <a:gd name="T3" fmla="*/ 0 h 47"/>
                  <a:gd name="T4" fmla="*/ 18 w 18"/>
                  <a:gd name="T5" fmla="*/ 6 h 47"/>
                  <a:gd name="T6" fmla="*/ 18 w 18"/>
                  <a:gd name="T7" fmla="*/ 6 h 47"/>
                  <a:gd name="T8" fmla="*/ 16 w 18"/>
                  <a:gd name="T9" fmla="*/ 40 h 47"/>
                  <a:gd name="T10" fmla="*/ 16 w 18"/>
                  <a:gd name="T11" fmla="*/ 40 h 47"/>
                  <a:gd name="T12" fmla="*/ 12 w 18"/>
                  <a:gd name="T13" fmla="*/ 44 h 47"/>
                  <a:gd name="T14" fmla="*/ 6 w 18"/>
                  <a:gd name="T15" fmla="*/ 47 h 47"/>
                  <a:gd name="T16" fmla="*/ 6 w 18"/>
                  <a:gd name="T17" fmla="*/ 47 h 47"/>
                  <a:gd name="T18" fmla="*/ 0 w 18"/>
                  <a:gd name="T19" fmla="*/ 43 h 47"/>
                  <a:gd name="T20" fmla="*/ 0 w 18"/>
                  <a:gd name="T21" fmla="*/ 43 h 47"/>
                  <a:gd name="T22" fmla="*/ 4 w 18"/>
                  <a:gd name="T23" fmla="*/ 0 h 47"/>
                  <a:gd name="T24" fmla="*/ 4 w 18"/>
                  <a:gd name="T2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47">
                    <a:moveTo>
                      <a:pt x="4" y="0"/>
                    </a:moveTo>
                    <a:lnTo>
                      <a:pt x="4" y="0"/>
                    </a:lnTo>
                    <a:lnTo>
                      <a:pt x="18" y="6"/>
                    </a:lnTo>
                    <a:lnTo>
                      <a:pt x="18" y="6"/>
                    </a:lnTo>
                    <a:lnTo>
                      <a:pt x="16" y="40"/>
                    </a:lnTo>
                    <a:lnTo>
                      <a:pt x="16" y="40"/>
                    </a:lnTo>
                    <a:lnTo>
                      <a:pt x="12" y="44"/>
                    </a:lnTo>
                    <a:lnTo>
                      <a:pt x="6" y="47"/>
                    </a:lnTo>
                    <a:lnTo>
                      <a:pt x="6" y="47"/>
                    </a:lnTo>
                    <a:lnTo>
                      <a:pt x="0" y="43"/>
                    </a:lnTo>
                    <a:lnTo>
                      <a:pt x="0" y="43"/>
                    </a:lnTo>
                    <a:lnTo>
                      <a:pt x="4" y="0"/>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404040"/>
                  </a:solidFill>
                </a:endParaRPr>
              </a:p>
            </p:txBody>
          </p:sp>
          <p:sp>
            <p:nvSpPr>
              <p:cNvPr id="4820" name="Freeform 38"/>
              <p:cNvSpPr>
                <a:spLocks/>
              </p:cNvSpPr>
              <p:nvPr/>
            </p:nvSpPr>
            <p:spPr bwMode="auto">
              <a:xfrm>
                <a:off x="5742940" y="3280707"/>
                <a:ext cx="23925" cy="8346"/>
              </a:xfrm>
              <a:custGeom>
                <a:avLst/>
                <a:gdLst>
                  <a:gd name="T0" fmla="*/ 43 w 43"/>
                  <a:gd name="T1" fmla="*/ 7 h 15"/>
                  <a:gd name="T2" fmla="*/ 43 w 43"/>
                  <a:gd name="T3" fmla="*/ 7 h 15"/>
                  <a:gd name="T4" fmla="*/ 33 w 43"/>
                  <a:gd name="T5" fmla="*/ 15 h 15"/>
                  <a:gd name="T6" fmla="*/ 33 w 43"/>
                  <a:gd name="T7" fmla="*/ 15 h 15"/>
                  <a:gd name="T8" fmla="*/ 22 w 43"/>
                  <a:gd name="T9" fmla="*/ 15 h 15"/>
                  <a:gd name="T10" fmla="*/ 10 w 43"/>
                  <a:gd name="T11" fmla="*/ 15 h 15"/>
                  <a:gd name="T12" fmla="*/ 10 w 43"/>
                  <a:gd name="T13" fmla="*/ 15 h 15"/>
                  <a:gd name="T14" fmla="*/ 0 w 43"/>
                  <a:gd name="T15" fmla="*/ 8 h 15"/>
                  <a:gd name="T16" fmla="*/ 0 w 43"/>
                  <a:gd name="T17" fmla="*/ 8 h 15"/>
                  <a:gd name="T18" fmla="*/ 11 w 43"/>
                  <a:gd name="T19" fmla="*/ 0 h 15"/>
                  <a:gd name="T20" fmla="*/ 11 w 43"/>
                  <a:gd name="T21" fmla="*/ 0 h 15"/>
                  <a:gd name="T22" fmla="*/ 34 w 43"/>
                  <a:gd name="T23" fmla="*/ 0 h 15"/>
                  <a:gd name="T24" fmla="*/ 34 w 43"/>
                  <a:gd name="T25" fmla="*/ 0 h 15"/>
                  <a:gd name="T26" fmla="*/ 38 w 43"/>
                  <a:gd name="T27" fmla="*/ 3 h 15"/>
                  <a:gd name="T28" fmla="*/ 43 w 43"/>
                  <a:gd name="T29" fmla="*/ 7 h 15"/>
                  <a:gd name="T30" fmla="*/ 43 w 43"/>
                  <a:gd name="T31" fmla="*/ 7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3" h="15">
                    <a:moveTo>
                      <a:pt x="43" y="7"/>
                    </a:moveTo>
                    <a:lnTo>
                      <a:pt x="43" y="7"/>
                    </a:lnTo>
                    <a:lnTo>
                      <a:pt x="33" y="15"/>
                    </a:lnTo>
                    <a:lnTo>
                      <a:pt x="33" y="15"/>
                    </a:lnTo>
                    <a:lnTo>
                      <a:pt x="22" y="15"/>
                    </a:lnTo>
                    <a:lnTo>
                      <a:pt x="10" y="15"/>
                    </a:lnTo>
                    <a:lnTo>
                      <a:pt x="10" y="15"/>
                    </a:lnTo>
                    <a:lnTo>
                      <a:pt x="0" y="8"/>
                    </a:lnTo>
                    <a:lnTo>
                      <a:pt x="0" y="8"/>
                    </a:lnTo>
                    <a:lnTo>
                      <a:pt x="11" y="0"/>
                    </a:lnTo>
                    <a:lnTo>
                      <a:pt x="11" y="0"/>
                    </a:lnTo>
                    <a:lnTo>
                      <a:pt x="34" y="0"/>
                    </a:lnTo>
                    <a:lnTo>
                      <a:pt x="34" y="0"/>
                    </a:lnTo>
                    <a:lnTo>
                      <a:pt x="38" y="3"/>
                    </a:lnTo>
                    <a:lnTo>
                      <a:pt x="43" y="7"/>
                    </a:lnTo>
                    <a:lnTo>
                      <a:pt x="4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404040"/>
                  </a:solidFill>
                </a:endParaRPr>
              </a:p>
            </p:txBody>
          </p:sp>
        </p:grpSp>
        <p:sp>
          <p:nvSpPr>
            <p:cNvPr id="4806" name="Freeform 39"/>
            <p:cNvSpPr>
              <a:spLocks noEditPoints="1"/>
            </p:cNvSpPr>
            <p:nvPr/>
          </p:nvSpPr>
          <p:spPr bwMode="auto">
            <a:xfrm>
              <a:off x="4295242" y="6878902"/>
              <a:ext cx="617298" cy="347928"/>
            </a:xfrm>
            <a:custGeom>
              <a:avLst/>
              <a:gdLst>
                <a:gd name="T0" fmla="*/ 110 w 110"/>
                <a:gd name="T1" fmla="*/ 62 h 62"/>
                <a:gd name="T2" fmla="*/ 0 w 110"/>
                <a:gd name="T3" fmla="*/ 62 h 62"/>
                <a:gd name="T4" fmla="*/ 0 w 110"/>
                <a:gd name="T5" fmla="*/ 0 h 62"/>
                <a:gd name="T6" fmla="*/ 110 w 110"/>
                <a:gd name="T7" fmla="*/ 0 h 62"/>
                <a:gd name="T8" fmla="*/ 110 w 110"/>
                <a:gd name="T9" fmla="*/ 62 h 62"/>
                <a:gd name="T10" fmla="*/ 5 w 110"/>
                <a:gd name="T11" fmla="*/ 58 h 62"/>
                <a:gd name="T12" fmla="*/ 106 w 110"/>
                <a:gd name="T13" fmla="*/ 58 h 62"/>
                <a:gd name="T14" fmla="*/ 106 w 110"/>
                <a:gd name="T15" fmla="*/ 5 h 62"/>
                <a:gd name="T16" fmla="*/ 5 w 110"/>
                <a:gd name="T17" fmla="*/ 5 h 62"/>
                <a:gd name="T18" fmla="*/ 5 w 110"/>
                <a:gd name="T19" fmla="*/ 5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0" h="62">
                  <a:moveTo>
                    <a:pt x="110" y="62"/>
                  </a:moveTo>
                  <a:lnTo>
                    <a:pt x="0" y="62"/>
                  </a:lnTo>
                  <a:lnTo>
                    <a:pt x="0" y="0"/>
                  </a:lnTo>
                  <a:lnTo>
                    <a:pt x="110" y="0"/>
                  </a:lnTo>
                  <a:lnTo>
                    <a:pt x="110" y="62"/>
                  </a:lnTo>
                  <a:close/>
                  <a:moveTo>
                    <a:pt x="5" y="58"/>
                  </a:moveTo>
                  <a:lnTo>
                    <a:pt x="106" y="58"/>
                  </a:lnTo>
                  <a:lnTo>
                    <a:pt x="106" y="5"/>
                  </a:lnTo>
                  <a:lnTo>
                    <a:pt x="5" y="5"/>
                  </a:lnTo>
                  <a:lnTo>
                    <a:pt x="5"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404040"/>
                </a:solidFill>
              </a:endParaRPr>
            </a:p>
          </p:txBody>
        </p:sp>
        <p:sp>
          <p:nvSpPr>
            <p:cNvPr id="4807" name="Freeform 40"/>
            <p:cNvSpPr>
              <a:spLocks noEditPoints="1"/>
            </p:cNvSpPr>
            <p:nvPr/>
          </p:nvSpPr>
          <p:spPr bwMode="auto">
            <a:xfrm>
              <a:off x="4592666" y="7316629"/>
              <a:ext cx="319874" cy="347928"/>
            </a:xfrm>
            <a:custGeom>
              <a:avLst/>
              <a:gdLst>
                <a:gd name="T0" fmla="*/ 57 w 57"/>
                <a:gd name="T1" fmla="*/ 62 h 62"/>
                <a:gd name="T2" fmla="*/ 0 w 57"/>
                <a:gd name="T3" fmla="*/ 62 h 62"/>
                <a:gd name="T4" fmla="*/ 0 w 57"/>
                <a:gd name="T5" fmla="*/ 0 h 62"/>
                <a:gd name="T6" fmla="*/ 57 w 57"/>
                <a:gd name="T7" fmla="*/ 0 h 62"/>
                <a:gd name="T8" fmla="*/ 57 w 57"/>
                <a:gd name="T9" fmla="*/ 62 h 62"/>
                <a:gd name="T10" fmla="*/ 4 w 57"/>
                <a:gd name="T11" fmla="*/ 57 h 62"/>
                <a:gd name="T12" fmla="*/ 53 w 57"/>
                <a:gd name="T13" fmla="*/ 57 h 62"/>
                <a:gd name="T14" fmla="*/ 53 w 57"/>
                <a:gd name="T15" fmla="*/ 4 h 62"/>
                <a:gd name="T16" fmla="*/ 4 w 57"/>
                <a:gd name="T17" fmla="*/ 4 h 62"/>
                <a:gd name="T18" fmla="*/ 4 w 57"/>
                <a:gd name="T19" fmla="*/ 57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62">
                  <a:moveTo>
                    <a:pt x="57" y="62"/>
                  </a:moveTo>
                  <a:lnTo>
                    <a:pt x="0" y="62"/>
                  </a:lnTo>
                  <a:lnTo>
                    <a:pt x="0" y="0"/>
                  </a:lnTo>
                  <a:lnTo>
                    <a:pt x="57" y="0"/>
                  </a:lnTo>
                  <a:lnTo>
                    <a:pt x="57" y="62"/>
                  </a:lnTo>
                  <a:close/>
                  <a:moveTo>
                    <a:pt x="4" y="57"/>
                  </a:moveTo>
                  <a:lnTo>
                    <a:pt x="53" y="57"/>
                  </a:lnTo>
                  <a:lnTo>
                    <a:pt x="53" y="4"/>
                  </a:lnTo>
                  <a:lnTo>
                    <a:pt x="4" y="4"/>
                  </a:lnTo>
                  <a:lnTo>
                    <a:pt x="4" y="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404040"/>
                </a:solidFill>
              </a:endParaRPr>
            </a:p>
          </p:txBody>
        </p:sp>
        <p:sp>
          <p:nvSpPr>
            <p:cNvPr id="4808" name="Freeform 41"/>
            <p:cNvSpPr>
              <a:spLocks noEditPoints="1"/>
            </p:cNvSpPr>
            <p:nvPr/>
          </p:nvSpPr>
          <p:spPr bwMode="auto">
            <a:xfrm>
              <a:off x="4295242" y="7316629"/>
              <a:ext cx="202034" cy="347928"/>
            </a:xfrm>
            <a:custGeom>
              <a:avLst/>
              <a:gdLst>
                <a:gd name="T0" fmla="*/ 36 w 36"/>
                <a:gd name="T1" fmla="*/ 62 h 62"/>
                <a:gd name="T2" fmla="*/ 0 w 36"/>
                <a:gd name="T3" fmla="*/ 62 h 62"/>
                <a:gd name="T4" fmla="*/ 0 w 36"/>
                <a:gd name="T5" fmla="*/ 0 h 62"/>
                <a:gd name="T6" fmla="*/ 36 w 36"/>
                <a:gd name="T7" fmla="*/ 0 h 62"/>
                <a:gd name="T8" fmla="*/ 36 w 36"/>
                <a:gd name="T9" fmla="*/ 62 h 62"/>
                <a:gd name="T10" fmla="*/ 5 w 36"/>
                <a:gd name="T11" fmla="*/ 57 h 62"/>
                <a:gd name="T12" fmla="*/ 32 w 36"/>
                <a:gd name="T13" fmla="*/ 57 h 62"/>
                <a:gd name="T14" fmla="*/ 32 w 36"/>
                <a:gd name="T15" fmla="*/ 4 h 62"/>
                <a:gd name="T16" fmla="*/ 5 w 36"/>
                <a:gd name="T17" fmla="*/ 4 h 62"/>
                <a:gd name="T18" fmla="*/ 5 w 36"/>
                <a:gd name="T19" fmla="*/ 57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62">
                  <a:moveTo>
                    <a:pt x="36" y="62"/>
                  </a:moveTo>
                  <a:lnTo>
                    <a:pt x="0" y="62"/>
                  </a:lnTo>
                  <a:lnTo>
                    <a:pt x="0" y="0"/>
                  </a:lnTo>
                  <a:lnTo>
                    <a:pt x="36" y="0"/>
                  </a:lnTo>
                  <a:lnTo>
                    <a:pt x="36" y="62"/>
                  </a:lnTo>
                  <a:close/>
                  <a:moveTo>
                    <a:pt x="5" y="57"/>
                  </a:moveTo>
                  <a:lnTo>
                    <a:pt x="32" y="57"/>
                  </a:lnTo>
                  <a:lnTo>
                    <a:pt x="32" y="4"/>
                  </a:lnTo>
                  <a:lnTo>
                    <a:pt x="5" y="4"/>
                  </a:lnTo>
                  <a:lnTo>
                    <a:pt x="5" y="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solidFill>
                  <a:srgbClr val="404040"/>
                </a:solidFill>
              </a:endParaRPr>
            </a:p>
          </p:txBody>
        </p:sp>
      </p:grpSp>
      <p:sp>
        <p:nvSpPr>
          <p:cNvPr id="4837" name="Freeform 28"/>
          <p:cNvSpPr>
            <a:spLocks noEditPoints="1"/>
          </p:cNvSpPr>
          <p:nvPr/>
        </p:nvSpPr>
        <p:spPr bwMode="auto">
          <a:xfrm>
            <a:off x="1672654" y="816139"/>
            <a:ext cx="398474" cy="297143"/>
          </a:xfrm>
          <a:custGeom>
            <a:avLst/>
            <a:gdLst>
              <a:gd name="T0" fmla="*/ 857 w 990"/>
              <a:gd name="T1" fmla="*/ 0 h 716"/>
              <a:gd name="T2" fmla="*/ 693 w 990"/>
              <a:gd name="T3" fmla="*/ 0 h 716"/>
              <a:gd name="T4" fmla="*/ 670 w 990"/>
              <a:gd name="T5" fmla="*/ 9 h 716"/>
              <a:gd name="T6" fmla="*/ 519 w 990"/>
              <a:gd name="T7" fmla="*/ 159 h 716"/>
              <a:gd name="T8" fmla="*/ 519 w 990"/>
              <a:gd name="T9" fmla="*/ 113 h 716"/>
              <a:gd name="T10" fmla="*/ 451 w 990"/>
              <a:gd name="T11" fmla="*/ 46 h 716"/>
              <a:gd name="T12" fmla="*/ 384 w 990"/>
              <a:gd name="T13" fmla="*/ 113 h 716"/>
              <a:gd name="T14" fmla="*/ 384 w 990"/>
              <a:gd name="T15" fmla="*/ 290 h 716"/>
              <a:gd name="T16" fmla="*/ 217 w 990"/>
              <a:gd name="T17" fmla="*/ 450 h 716"/>
              <a:gd name="T18" fmla="*/ 133 w 990"/>
              <a:gd name="T19" fmla="*/ 450 h 716"/>
              <a:gd name="T20" fmla="*/ 0 w 990"/>
              <a:gd name="T21" fmla="*/ 583 h 716"/>
              <a:gd name="T22" fmla="*/ 133 w 990"/>
              <a:gd name="T23" fmla="*/ 716 h 716"/>
              <a:gd name="T24" fmla="*/ 285 w 990"/>
              <a:gd name="T25" fmla="*/ 716 h 716"/>
              <a:gd name="T26" fmla="*/ 308 w 990"/>
              <a:gd name="T27" fmla="*/ 707 h 716"/>
              <a:gd name="T28" fmla="*/ 759 w 990"/>
              <a:gd name="T29" fmla="*/ 266 h 716"/>
              <a:gd name="T30" fmla="*/ 857 w 990"/>
              <a:gd name="T31" fmla="*/ 266 h 716"/>
              <a:gd name="T32" fmla="*/ 990 w 990"/>
              <a:gd name="T33" fmla="*/ 133 h 716"/>
              <a:gd name="T34" fmla="*/ 857 w 990"/>
              <a:gd name="T35" fmla="*/ 0 h 716"/>
              <a:gd name="T36" fmla="*/ 855 w 990"/>
              <a:gd name="T37" fmla="*/ 202 h 716"/>
              <a:gd name="T38" fmla="*/ 801 w 990"/>
              <a:gd name="T39" fmla="*/ 202 h 716"/>
              <a:gd name="T40" fmla="*/ 677 w 990"/>
              <a:gd name="T41" fmla="*/ 202 h 716"/>
              <a:gd name="T42" fmla="*/ 624 w 990"/>
              <a:gd name="T43" fmla="*/ 202 h 716"/>
              <a:gd name="T44" fmla="*/ 619 w 990"/>
              <a:gd name="T45" fmla="*/ 206 h 716"/>
              <a:gd name="T46" fmla="*/ 619 w 990"/>
              <a:gd name="T47" fmla="*/ 310 h 716"/>
              <a:gd name="T48" fmla="*/ 614 w 990"/>
              <a:gd name="T49" fmla="*/ 315 h 716"/>
              <a:gd name="T50" fmla="*/ 508 w 990"/>
              <a:gd name="T51" fmla="*/ 315 h 716"/>
              <a:gd name="T52" fmla="*/ 504 w 990"/>
              <a:gd name="T53" fmla="*/ 320 h 716"/>
              <a:gd name="T54" fmla="*/ 504 w 990"/>
              <a:gd name="T55" fmla="*/ 423 h 716"/>
              <a:gd name="T56" fmla="*/ 499 w 990"/>
              <a:gd name="T57" fmla="*/ 428 h 716"/>
              <a:gd name="T58" fmla="*/ 393 w 990"/>
              <a:gd name="T59" fmla="*/ 428 h 716"/>
              <a:gd name="T60" fmla="*/ 388 w 990"/>
              <a:gd name="T61" fmla="*/ 433 h 716"/>
              <a:gd name="T62" fmla="*/ 388 w 990"/>
              <a:gd name="T63" fmla="*/ 537 h 716"/>
              <a:gd name="T64" fmla="*/ 383 w 990"/>
              <a:gd name="T65" fmla="*/ 541 h 716"/>
              <a:gd name="T66" fmla="*/ 277 w 990"/>
              <a:gd name="T67" fmla="*/ 541 h 716"/>
              <a:gd name="T68" fmla="*/ 272 w 990"/>
              <a:gd name="T69" fmla="*/ 546 h 716"/>
              <a:gd name="T70" fmla="*/ 272 w 990"/>
              <a:gd name="T71" fmla="*/ 647 h 716"/>
              <a:gd name="T72" fmla="*/ 267 w 990"/>
              <a:gd name="T73" fmla="*/ 652 h 716"/>
              <a:gd name="T74" fmla="*/ 135 w 990"/>
              <a:gd name="T75" fmla="*/ 652 h 716"/>
              <a:gd name="T76" fmla="*/ 65 w 990"/>
              <a:gd name="T77" fmla="*/ 582 h 716"/>
              <a:gd name="T78" fmla="*/ 133 w 990"/>
              <a:gd name="T79" fmla="*/ 514 h 716"/>
              <a:gd name="T80" fmla="*/ 230 w 990"/>
              <a:gd name="T81" fmla="*/ 514 h 716"/>
              <a:gd name="T82" fmla="*/ 253 w 990"/>
              <a:gd name="T83" fmla="*/ 505 h 716"/>
              <a:gd name="T84" fmla="*/ 706 w 990"/>
              <a:gd name="T85" fmla="*/ 64 h 716"/>
              <a:gd name="T86" fmla="*/ 857 w 990"/>
              <a:gd name="T87" fmla="*/ 64 h 716"/>
              <a:gd name="T88" fmla="*/ 926 w 990"/>
              <a:gd name="T89" fmla="*/ 132 h 716"/>
              <a:gd name="T90" fmla="*/ 855 w 990"/>
              <a:gd name="T91" fmla="*/ 202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90" h="716">
                <a:moveTo>
                  <a:pt x="857" y="0"/>
                </a:moveTo>
                <a:cubicBezTo>
                  <a:pt x="693" y="0"/>
                  <a:pt x="693" y="0"/>
                  <a:pt x="693" y="0"/>
                </a:cubicBezTo>
                <a:cubicBezTo>
                  <a:pt x="684" y="0"/>
                  <a:pt x="676" y="3"/>
                  <a:pt x="670" y="9"/>
                </a:cubicBezTo>
                <a:cubicBezTo>
                  <a:pt x="519" y="159"/>
                  <a:pt x="519" y="159"/>
                  <a:pt x="519" y="159"/>
                </a:cubicBezTo>
                <a:cubicBezTo>
                  <a:pt x="519" y="113"/>
                  <a:pt x="519" y="113"/>
                  <a:pt x="519" y="113"/>
                </a:cubicBezTo>
                <a:cubicBezTo>
                  <a:pt x="519" y="76"/>
                  <a:pt x="489" y="46"/>
                  <a:pt x="451" y="46"/>
                </a:cubicBezTo>
                <a:cubicBezTo>
                  <a:pt x="414" y="46"/>
                  <a:pt x="384" y="76"/>
                  <a:pt x="384" y="113"/>
                </a:cubicBezTo>
                <a:cubicBezTo>
                  <a:pt x="384" y="290"/>
                  <a:pt x="384" y="290"/>
                  <a:pt x="384" y="290"/>
                </a:cubicBezTo>
                <a:cubicBezTo>
                  <a:pt x="217" y="450"/>
                  <a:pt x="217" y="450"/>
                  <a:pt x="217" y="450"/>
                </a:cubicBezTo>
                <a:cubicBezTo>
                  <a:pt x="133" y="450"/>
                  <a:pt x="133" y="450"/>
                  <a:pt x="133" y="450"/>
                </a:cubicBezTo>
                <a:cubicBezTo>
                  <a:pt x="60" y="450"/>
                  <a:pt x="0" y="510"/>
                  <a:pt x="0" y="583"/>
                </a:cubicBezTo>
                <a:cubicBezTo>
                  <a:pt x="0" y="657"/>
                  <a:pt x="60" y="716"/>
                  <a:pt x="133" y="716"/>
                </a:cubicBezTo>
                <a:cubicBezTo>
                  <a:pt x="285" y="716"/>
                  <a:pt x="285" y="716"/>
                  <a:pt x="285" y="716"/>
                </a:cubicBezTo>
                <a:cubicBezTo>
                  <a:pt x="294" y="716"/>
                  <a:pt x="302" y="713"/>
                  <a:pt x="308" y="707"/>
                </a:cubicBezTo>
                <a:cubicBezTo>
                  <a:pt x="759" y="266"/>
                  <a:pt x="759" y="266"/>
                  <a:pt x="759" y="266"/>
                </a:cubicBezTo>
                <a:cubicBezTo>
                  <a:pt x="857" y="266"/>
                  <a:pt x="857" y="266"/>
                  <a:pt x="857" y="266"/>
                </a:cubicBezTo>
                <a:cubicBezTo>
                  <a:pt x="930" y="266"/>
                  <a:pt x="990" y="206"/>
                  <a:pt x="990" y="133"/>
                </a:cubicBezTo>
                <a:cubicBezTo>
                  <a:pt x="990" y="59"/>
                  <a:pt x="930" y="0"/>
                  <a:pt x="857" y="0"/>
                </a:cubicBezTo>
                <a:close/>
                <a:moveTo>
                  <a:pt x="855" y="202"/>
                </a:moveTo>
                <a:cubicBezTo>
                  <a:pt x="801" y="202"/>
                  <a:pt x="801" y="202"/>
                  <a:pt x="801" y="202"/>
                </a:cubicBezTo>
                <a:cubicBezTo>
                  <a:pt x="677" y="202"/>
                  <a:pt x="677" y="202"/>
                  <a:pt x="677" y="202"/>
                </a:cubicBezTo>
                <a:cubicBezTo>
                  <a:pt x="624" y="202"/>
                  <a:pt x="624" y="202"/>
                  <a:pt x="624" y="202"/>
                </a:cubicBezTo>
                <a:cubicBezTo>
                  <a:pt x="621" y="202"/>
                  <a:pt x="619" y="204"/>
                  <a:pt x="619" y="206"/>
                </a:cubicBezTo>
                <a:cubicBezTo>
                  <a:pt x="619" y="310"/>
                  <a:pt x="619" y="310"/>
                  <a:pt x="619" y="310"/>
                </a:cubicBezTo>
                <a:cubicBezTo>
                  <a:pt x="619" y="313"/>
                  <a:pt x="617" y="315"/>
                  <a:pt x="614" y="315"/>
                </a:cubicBezTo>
                <a:cubicBezTo>
                  <a:pt x="508" y="315"/>
                  <a:pt x="508" y="315"/>
                  <a:pt x="508" y="315"/>
                </a:cubicBezTo>
                <a:cubicBezTo>
                  <a:pt x="506" y="315"/>
                  <a:pt x="504" y="317"/>
                  <a:pt x="504" y="320"/>
                </a:cubicBezTo>
                <a:cubicBezTo>
                  <a:pt x="504" y="423"/>
                  <a:pt x="504" y="423"/>
                  <a:pt x="504" y="423"/>
                </a:cubicBezTo>
                <a:cubicBezTo>
                  <a:pt x="504" y="426"/>
                  <a:pt x="501" y="428"/>
                  <a:pt x="499" y="428"/>
                </a:cubicBezTo>
                <a:cubicBezTo>
                  <a:pt x="393" y="428"/>
                  <a:pt x="393" y="428"/>
                  <a:pt x="393" y="428"/>
                </a:cubicBezTo>
                <a:cubicBezTo>
                  <a:pt x="390" y="428"/>
                  <a:pt x="388" y="430"/>
                  <a:pt x="388" y="433"/>
                </a:cubicBezTo>
                <a:cubicBezTo>
                  <a:pt x="388" y="537"/>
                  <a:pt x="388" y="537"/>
                  <a:pt x="388" y="537"/>
                </a:cubicBezTo>
                <a:cubicBezTo>
                  <a:pt x="388" y="539"/>
                  <a:pt x="386" y="541"/>
                  <a:pt x="383" y="541"/>
                </a:cubicBezTo>
                <a:cubicBezTo>
                  <a:pt x="277" y="541"/>
                  <a:pt x="277" y="541"/>
                  <a:pt x="277" y="541"/>
                </a:cubicBezTo>
                <a:cubicBezTo>
                  <a:pt x="274" y="541"/>
                  <a:pt x="272" y="544"/>
                  <a:pt x="272" y="546"/>
                </a:cubicBezTo>
                <a:cubicBezTo>
                  <a:pt x="272" y="647"/>
                  <a:pt x="272" y="647"/>
                  <a:pt x="272" y="647"/>
                </a:cubicBezTo>
                <a:cubicBezTo>
                  <a:pt x="272" y="650"/>
                  <a:pt x="270" y="652"/>
                  <a:pt x="267" y="652"/>
                </a:cubicBezTo>
                <a:cubicBezTo>
                  <a:pt x="135" y="652"/>
                  <a:pt x="135" y="652"/>
                  <a:pt x="135" y="652"/>
                </a:cubicBezTo>
                <a:cubicBezTo>
                  <a:pt x="97" y="652"/>
                  <a:pt x="64" y="621"/>
                  <a:pt x="65" y="582"/>
                </a:cubicBezTo>
                <a:cubicBezTo>
                  <a:pt x="65" y="545"/>
                  <a:pt x="96" y="514"/>
                  <a:pt x="133" y="514"/>
                </a:cubicBezTo>
                <a:cubicBezTo>
                  <a:pt x="230" y="514"/>
                  <a:pt x="230" y="514"/>
                  <a:pt x="230" y="514"/>
                </a:cubicBezTo>
                <a:cubicBezTo>
                  <a:pt x="239" y="514"/>
                  <a:pt x="247" y="511"/>
                  <a:pt x="253" y="505"/>
                </a:cubicBezTo>
                <a:cubicBezTo>
                  <a:pt x="706" y="64"/>
                  <a:pt x="706" y="64"/>
                  <a:pt x="706" y="64"/>
                </a:cubicBezTo>
                <a:cubicBezTo>
                  <a:pt x="857" y="64"/>
                  <a:pt x="857" y="64"/>
                  <a:pt x="857" y="64"/>
                </a:cubicBezTo>
                <a:cubicBezTo>
                  <a:pt x="895" y="64"/>
                  <a:pt x="925" y="94"/>
                  <a:pt x="926" y="132"/>
                </a:cubicBezTo>
                <a:cubicBezTo>
                  <a:pt x="926" y="170"/>
                  <a:pt x="894" y="202"/>
                  <a:pt x="855" y="202"/>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defTabSz="932688"/>
            <a:endParaRPr lang="en-US" sz="1836">
              <a:solidFill>
                <a:prstClr val="black"/>
              </a:solidFill>
            </a:endParaRPr>
          </a:p>
        </p:txBody>
      </p:sp>
    </p:spTree>
    <p:extLst>
      <p:ext uri="{BB962C8B-B14F-4D97-AF65-F5344CB8AC3E}">
        <p14:creationId xmlns:p14="http://schemas.microsoft.com/office/powerpoint/2010/main" val="426158768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DFA8AB-0E54-4281-A697-FAD89A142DA0}"/>
              </a:ext>
            </a:extLst>
          </p:cNvPr>
          <p:cNvSpPr>
            <a:spLocks noGrp="1"/>
          </p:cNvSpPr>
          <p:nvPr>
            <p:ph type="title"/>
          </p:nvPr>
        </p:nvSpPr>
        <p:spPr>
          <a:xfrm>
            <a:off x="1493837" y="831991"/>
            <a:ext cx="9795841" cy="1070123"/>
          </a:xfrm>
        </p:spPr>
        <p:txBody>
          <a:bodyPr>
            <a:normAutofit/>
          </a:bodyPr>
          <a:lstStyle/>
          <a:p>
            <a:r>
              <a:rPr lang="en-US" sz="4400" b="1" dirty="0"/>
              <a:t>What is an IOT application ?</a:t>
            </a:r>
          </a:p>
        </p:txBody>
      </p:sp>
      <p:sp>
        <p:nvSpPr>
          <p:cNvPr id="4" name="Content Placeholder 3">
            <a:extLst>
              <a:ext uri="{FF2B5EF4-FFF2-40B4-BE49-F238E27FC236}">
                <a16:creationId xmlns:a16="http://schemas.microsoft.com/office/drawing/2014/main" id="{15BCFA5C-416D-47AD-AFC8-82EE48C21E19}"/>
              </a:ext>
            </a:extLst>
          </p:cNvPr>
          <p:cNvSpPr>
            <a:spLocks noGrp="1"/>
          </p:cNvSpPr>
          <p:nvPr>
            <p:ph idx="1"/>
          </p:nvPr>
        </p:nvSpPr>
        <p:spPr/>
        <p:txBody>
          <a:bodyPr/>
          <a:lstStyle/>
          <a:p>
            <a:endParaRPr lang="en-US"/>
          </a:p>
        </p:txBody>
      </p:sp>
      <p:pic>
        <p:nvPicPr>
          <p:cNvPr id="6" name="Picture 5">
            <a:extLst>
              <a:ext uri="{FF2B5EF4-FFF2-40B4-BE49-F238E27FC236}">
                <a16:creationId xmlns:a16="http://schemas.microsoft.com/office/drawing/2014/main" id="{668FC915-EEB6-4F4D-B8F9-19864C146A07}"/>
              </a:ext>
            </a:extLst>
          </p:cNvPr>
          <p:cNvPicPr>
            <a:picLocks noChangeAspect="1"/>
          </p:cNvPicPr>
          <p:nvPr/>
        </p:nvPicPr>
        <p:blipFill>
          <a:blip r:embed="rId3"/>
          <a:stretch>
            <a:fillRect/>
          </a:stretch>
        </p:blipFill>
        <p:spPr>
          <a:xfrm>
            <a:off x="1632099" y="2468562"/>
            <a:ext cx="9695599" cy="2095500"/>
          </a:xfrm>
          <a:prstGeom prst="rect">
            <a:avLst/>
          </a:prstGeom>
        </p:spPr>
      </p:pic>
    </p:spTree>
    <p:extLst>
      <p:ext uri="{BB962C8B-B14F-4D97-AF65-F5344CB8AC3E}">
        <p14:creationId xmlns:p14="http://schemas.microsoft.com/office/powerpoint/2010/main" val="71566423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DFA8AB-0E54-4281-A697-FAD89A142DA0}"/>
              </a:ext>
            </a:extLst>
          </p:cNvPr>
          <p:cNvSpPr>
            <a:spLocks noGrp="1"/>
          </p:cNvSpPr>
          <p:nvPr>
            <p:ph type="title"/>
          </p:nvPr>
        </p:nvSpPr>
        <p:spPr>
          <a:xfrm>
            <a:off x="1493837" y="831991"/>
            <a:ext cx="9795841" cy="1070123"/>
          </a:xfrm>
        </p:spPr>
        <p:txBody>
          <a:bodyPr>
            <a:normAutofit/>
          </a:bodyPr>
          <a:lstStyle/>
          <a:p>
            <a:r>
              <a:rPr lang="en-US" sz="4400" b="1" dirty="0"/>
              <a:t>Device Connectivity</a:t>
            </a:r>
          </a:p>
        </p:txBody>
      </p:sp>
      <p:pic>
        <p:nvPicPr>
          <p:cNvPr id="7" name="Content Placeholder 6" descr="A screenshot of a cell phone&#10;&#10;Description generated with very high confidence">
            <a:extLst>
              <a:ext uri="{FF2B5EF4-FFF2-40B4-BE49-F238E27FC236}">
                <a16:creationId xmlns:a16="http://schemas.microsoft.com/office/drawing/2014/main" id="{E731FF8E-68BF-48DA-A623-442F09C437FE}"/>
              </a:ext>
            </a:extLst>
          </p:cNvPr>
          <p:cNvPicPr>
            <a:picLocks noGrp="1" noChangeAspect="1"/>
          </p:cNvPicPr>
          <p:nvPr>
            <p:ph idx="1"/>
          </p:nvPr>
        </p:nvPicPr>
        <p:blipFill>
          <a:blip r:embed="rId3"/>
          <a:stretch>
            <a:fillRect/>
          </a:stretch>
        </p:blipFill>
        <p:spPr>
          <a:xfrm>
            <a:off x="3551237" y="1920032"/>
            <a:ext cx="6476999" cy="4320429"/>
          </a:xfrm>
          <a:prstGeom prst="rect">
            <a:avLst/>
          </a:prstGeom>
        </p:spPr>
      </p:pic>
    </p:spTree>
    <p:extLst>
      <p:ext uri="{BB962C8B-B14F-4D97-AF65-F5344CB8AC3E}">
        <p14:creationId xmlns:p14="http://schemas.microsoft.com/office/powerpoint/2010/main" val="33475728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DFA8AB-0E54-4281-A697-FAD89A142DA0}"/>
              </a:ext>
            </a:extLst>
          </p:cNvPr>
          <p:cNvSpPr>
            <a:spLocks noGrp="1"/>
          </p:cNvSpPr>
          <p:nvPr>
            <p:ph type="title"/>
          </p:nvPr>
        </p:nvSpPr>
        <p:spPr>
          <a:xfrm>
            <a:off x="1036637" y="674539"/>
            <a:ext cx="9795841" cy="1070123"/>
          </a:xfrm>
        </p:spPr>
        <p:txBody>
          <a:bodyPr>
            <a:normAutofit fontScale="90000"/>
          </a:bodyPr>
          <a:lstStyle/>
          <a:p>
            <a:pPr>
              <a:buClr>
                <a:schemeClr val="accent2"/>
              </a:buClr>
            </a:pPr>
            <a:r>
              <a:rPr lang="en-US" sz="4400" dirty="0"/>
              <a:t>Understanding the Azure IoT Suite</a:t>
            </a:r>
          </a:p>
        </p:txBody>
      </p:sp>
      <p:sp>
        <p:nvSpPr>
          <p:cNvPr id="4" name="Content Placeholder 3">
            <a:extLst>
              <a:ext uri="{FF2B5EF4-FFF2-40B4-BE49-F238E27FC236}">
                <a16:creationId xmlns:a16="http://schemas.microsoft.com/office/drawing/2014/main" id="{7B8A4442-979E-4897-9205-7B6550ED2546}"/>
              </a:ext>
            </a:extLst>
          </p:cNvPr>
          <p:cNvSpPr>
            <a:spLocks noGrp="1"/>
          </p:cNvSpPr>
          <p:nvPr>
            <p:ph idx="1"/>
          </p:nvPr>
        </p:nvSpPr>
        <p:spPr/>
        <p:txBody>
          <a:bodyPr/>
          <a:lstStyle/>
          <a:p>
            <a:endParaRPr lang="en-US"/>
          </a:p>
        </p:txBody>
      </p:sp>
      <p:pic>
        <p:nvPicPr>
          <p:cNvPr id="6" name="Picture 5" descr="A screenshot of a cell phone&#10;&#10;Description generated with very high confidence">
            <a:extLst>
              <a:ext uri="{FF2B5EF4-FFF2-40B4-BE49-F238E27FC236}">
                <a16:creationId xmlns:a16="http://schemas.microsoft.com/office/drawing/2014/main" id="{F2579032-1666-4211-890C-D9BACA3F49A5}"/>
              </a:ext>
            </a:extLst>
          </p:cNvPr>
          <p:cNvPicPr>
            <a:picLocks noChangeAspect="1"/>
          </p:cNvPicPr>
          <p:nvPr/>
        </p:nvPicPr>
        <p:blipFill>
          <a:blip r:embed="rId3"/>
          <a:stretch>
            <a:fillRect/>
          </a:stretch>
        </p:blipFill>
        <p:spPr>
          <a:xfrm>
            <a:off x="773182" y="1744662"/>
            <a:ext cx="10890110" cy="4267200"/>
          </a:xfrm>
          <a:prstGeom prst="rect">
            <a:avLst/>
          </a:prstGeom>
        </p:spPr>
      </p:pic>
    </p:spTree>
    <p:extLst>
      <p:ext uri="{BB962C8B-B14F-4D97-AF65-F5344CB8AC3E}">
        <p14:creationId xmlns:p14="http://schemas.microsoft.com/office/powerpoint/2010/main" val="133512393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D44EAE-58F4-4178-BDB1-A79878D1C99C}"/>
              </a:ext>
            </a:extLst>
          </p:cNvPr>
          <p:cNvSpPr>
            <a:spLocks noGrp="1"/>
          </p:cNvSpPr>
          <p:nvPr>
            <p:ph type="title"/>
          </p:nvPr>
        </p:nvSpPr>
        <p:spPr>
          <a:xfrm>
            <a:off x="1112837" y="982662"/>
            <a:ext cx="9914980" cy="1295400"/>
          </a:xfrm>
        </p:spPr>
        <p:txBody>
          <a:bodyPr>
            <a:normAutofit fontScale="90000"/>
          </a:bodyPr>
          <a:lstStyle/>
          <a:p>
            <a:r>
              <a:rPr lang="en-US" sz="4400" b="1" dirty="0"/>
              <a:t>Pre-configured IOT solutions</a:t>
            </a:r>
            <a:br>
              <a:rPr lang="en-US" sz="4400" b="1" dirty="0"/>
            </a:br>
            <a:endParaRPr lang="en-US" sz="4400" b="1" dirty="0"/>
          </a:p>
        </p:txBody>
      </p:sp>
      <p:pic>
        <p:nvPicPr>
          <p:cNvPr id="5" name="Content Placeholder 4" descr="A screenshot of a cell phone&#10;&#10;Description generated with very high confidence">
            <a:extLst>
              <a:ext uri="{FF2B5EF4-FFF2-40B4-BE49-F238E27FC236}">
                <a16:creationId xmlns:a16="http://schemas.microsoft.com/office/drawing/2014/main" id="{F3E91BB6-3B8B-4234-B7AE-A224DE25D73B}"/>
              </a:ext>
            </a:extLst>
          </p:cNvPr>
          <p:cNvPicPr>
            <a:picLocks noGrp="1" noChangeAspect="1"/>
          </p:cNvPicPr>
          <p:nvPr>
            <p:ph idx="1"/>
          </p:nvPr>
        </p:nvPicPr>
        <p:blipFill>
          <a:blip r:embed="rId3"/>
          <a:stretch>
            <a:fillRect/>
          </a:stretch>
        </p:blipFill>
        <p:spPr>
          <a:xfrm>
            <a:off x="1847777" y="2055813"/>
            <a:ext cx="9061596" cy="3519487"/>
          </a:xfrm>
        </p:spPr>
      </p:pic>
    </p:spTree>
    <p:extLst>
      <p:ext uri="{BB962C8B-B14F-4D97-AF65-F5344CB8AC3E}">
        <p14:creationId xmlns:p14="http://schemas.microsoft.com/office/powerpoint/2010/main" val="170524220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D44EAE-58F4-4178-BDB1-A79878D1C99C}"/>
              </a:ext>
            </a:extLst>
          </p:cNvPr>
          <p:cNvSpPr>
            <a:spLocks noGrp="1"/>
          </p:cNvSpPr>
          <p:nvPr>
            <p:ph type="title"/>
          </p:nvPr>
        </p:nvSpPr>
        <p:spPr>
          <a:xfrm>
            <a:off x="1112837" y="982662"/>
            <a:ext cx="9914980" cy="1295400"/>
          </a:xfrm>
        </p:spPr>
        <p:txBody>
          <a:bodyPr>
            <a:normAutofit fontScale="90000"/>
          </a:bodyPr>
          <a:lstStyle/>
          <a:p>
            <a:r>
              <a:rPr lang="en-US" sz="4400" dirty="0"/>
              <a:t>Demo</a:t>
            </a:r>
            <a:br>
              <a:rPr lang="en-US" sz="4400" dirty="0"/>
            </a:br>
            <a:endParaRPr lang="en-US" sz="4400" b="1" dirty="0"/>
          </a:p>
        </p:txBody>
      </p:sp>
      <p:sp>
        <p:nvSpPr>
          <p:cNvPr id="4" name="Content Placeholder 3">
            <a:extLst>
              <a:ext uri="{FF2B5EF4-FFF2-40B4-BE49-F238E27FC236}">
                <a16:creationId xmlns:a16="http://schemas.microsoft.com/office/drawing/2014/main" id="{7A4E5B8E-F65A-4C0E-AF7D-DA49EB191926}"/>
              </a:ext>
            </a:extLst>
          </p:cNvPr>
          <p:cNvSpPr>
            <a:spLocks noGrp="1"/>
          </p:cNvSpPr>
          <p:nvPr>
            <p:ph idx="1"/>
          </p:nvPr>
        </p:nvSpPr>
        <p:spPr/>
        <p:txBody>
          <a:bodyPr/>
          <a:lstStyle/>
          <a:p>
            <a:endParaRPr lang="en-US" dirty="0"/>
          </a:p>
        </p:txBody>
      </p:sp>
      <p:sp>
        <p:nvSpPr>
          <p:cNvPr id="6" name="Title 2">
            <a:extLst>
              <a:ext uri="{FF2B5EF4-FFF2-40B4-BE49-F238E27FC236}">
                <a16:creationId xmlns:a16="http://schemas.microsoft.com/office/drawing/2014/main" id="{68F10CEC-33AF-4BF9-A470-6E4E57FA503D}"/>
              </a:ext>
            </a:extLst>
          </p:cNvPr>
          <p:cNvSpPr txBox="1">
            <a:spLocks/>
          </p:cNvSpPr>
          <p:nvPr/>
        </p:nvSpPr>
        <p:spPr>
          <a:xfrm>
            <a:off x="274639" y="2136776"/>
            <a:ext cx="10056812" cy="1181862"/>
          </a:xfrm>
          <a:prstGeom prst="rect">
            <a:avLst/>
          </a:prstGeom>
        </p:spPr>
        <p:txBody>
          <a:bodyPr vert="horz" lIns="91440" tIns="45720" rIns="91440" bIns="45720" rtlCol="0" anchor="t">
            <a:normAutofit/>
          </a:bodyPr>
          <a:lstStyle>
            <a:lvl1pPr algn="l" defTabSz="932597" rtl="0" eaLnBrk="1" latinLnBrk="0" hangingPunct="1">
              <a:lnSpc>
                <a:spcPct val="90000"/>
              </a:lnSpc>
              <a:spcBef>
                <a:spcPct val="0"/>
              </a:spcBef>
              <a:buNone/>
              <a:defRPr sz="3264" b="0" i="0" kern="1200" cap="all">
                <a:solidFill>
                  <a:schemeClr val="tx1"/>
                </a:solidFill>
                <a:effectLst/>
                <a:latin typeface="+mj-lt"/>
                <a:ea typeface="+mj-ea"/>
                <a:cs typeface="+mj-cs"/>
              </a:defRPr>
            </a:lvl1pPr>
          </a:lstStyle>
          <a:p>
            <a:endParaRPr lang="en-US" dirty="0"/>
          </a:p>
        </p:txBody>
      </p:sp>
      <p:sp>
        <p:nvSpPr>
          <p:cNvPr id="7" name="Text Placeholder 3">
            <a:extLst>
              <a:ext uri="{FF2B5EF4-FFF2-40B4-BE49-F238E27FC236}">
                <a16:creationId xmlns:a16="http://schemas.microsoft.com/office/drawing/2014/main" id="{38B8DF41-B0A8-42C0-A339-9E0723464B8A}"/>
              </a:ext>
            </a:extLst>
          </p:cNvPr>
          <p:cNvSpPr txBox="1">
            <a:spLocks/>
          </p:cNvSpPr>
          <p:nvPr/>
        </p:nvSpPr>
        <p:spPr>
          <a:xfrm>
            <a:off x="129023" y="5720748"/>
            <a:ext cx="10058401" cy="572464"/>
          </a:xfrm>
          <a:prstGeom prst="rect">
            <a:avLst/>
          </a:prstGeom>
        </p:spPr>
        <p:txBody>
          <a:bodyPr vert="horz" lIns="91440" tIns="45720" rIns="91440" bIns="45720" rtlCol="0" anchor="t"/>
          <a:lstStyle>
            <a:defPPr>
              <a:defRPr lang="en-US"/>
            </a:defPPr>
            <a:lvl1pPr marL="0" algn="r" defTabSz="932742" rtl="0" eaLnBrk="1" latinLnBrk="0" hangingPunct="1">
              <a:defRPr sz="2856" kern="1200">
                <a:solidFill>
                  <a:schemeClr val="accent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r>
              <a:rPr lang="en-US" sz="2000" b="1" dirty="0"/>
              <a:t>Source code is available here : https://github.com/vishalkhatal/Azure-IOT</a:t>
            </a:r>
            <a:r>
              <a:rPr lang="en-US" sz="2000" dirty="0"/>
              <a:t>/</a:t>
            </a:r>
          </a:p>
        </p:txBody>
      </p:sp>
      <p:sp>
        <p:nvSpPr>
          <p:cNvPr id="8" name="Rectangle 7">
            <a:extLst>
              <a:ext uri="{FF2B5EF4-FFF2-40B4-BE49-F238E27FC236}">
                <a16:creationId xmlns:a16="http://schemas.microsoft.com/office/drawing/2014/main" id="{DC139225-4FC4-4396-B673-76C3989564EE}"/>
              </a:ext>
            </a:extLst>
          </p:cNvPr>
          <p:cNvSpPr/>
          <p:nvPr>
            <p:custDataLst>
              <p:tags r:id="rId1"/>
            </p:custDataLst>
          </p:nvPr>
        </p:nvSpPr>
        <p:spPr bwMode="auto">
          <a:xfrm>
            <a:off x="7767951" y="2091711"/>
            <a:ext cx="1524000" cy="15240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a:gradFill flip="none" rotWithShape="1">
                  <a:gsLst>
                    <a:gs pos="0">
                      <a:srgbClr val="FFFFFF"/>
                    </a:gs>
                    <a:gs pos="100000">
                      <a:srgbClr val="FFFFFF"/>
                    </a:gs>
                  </a:gsLst>
                  <a:lin ang="5400000" scaled="0"/>
                  <a:tileRect/>
                </a:gradFill>
                <a:ea typeface="Segoe UI" pitchFamily="34" charset="0"/>
                <a:cs typeface="Segoe UI" pitchFamily="34" charset="0"/>
              </a:rPr>
              <a:t>IOT Hub</a:t>
            </a:r>
          </a:p>
        </p:txBody>
      </p:sp>
      <p:grpSp>
        <p:nvGrpSpPr>
          <p:cNvPr id="9" name="Group 8">
            <a:extLst>
              <a:ext uri="{FF2B5EF4-FFF2-40B4-BE49-F238E27FC236}">
                <a16:creationId xmlns:a16="http://schemas.microsoft.com/office/drawing/2014/main" id="{CE20201E-281D-403B-8457-06FE675F4F9D}"/>
              </a:ext>
            </a:extLst>
          </p:cNvPr>
          <p:cNvGrpSpPr/>
          <p:nvPr/>
        </p:nvGrpSpPr>
        <p:grpSpPr>
          <a:xfrm>
            <a:off x="10154540" y="4079365"/>
            <a:ext cx="1524000" cy="1524000"/>
            <a:chOff x="2612198" y="3525184"/>
            <a:chExt cx="1524000" cy="1524000"/>
          </a:xfrm>
          <a:solidFill>
            <a:schemeClr val="accent5"/>
          </a:solidFill>
        </p:grpSpPr>
        <p:sp>
          <p:nvSpPr>
            <p:cNvPr id="10" name="Rectangle 9">
              <a:extLst>
                <a:ext uri="{FF2B5EF4-FFF2-40B4-BE49-F238E27FC236}">
                  <a16:creationId xmlns:a16="http://schemas.microsoft.com/office/drawing/2014/main" id="{CB4C74AF-B36E-40D8-A5FE-C711FDB204DE}"/>
                </a:ext>
              </a:extLst>
            </p:cNvPr>
            <p:cNvSpPr/>
            <p:nvPr>
              <p:custDataLst>
                <p:tags r:id="rId4"/>
              </p:custDataLst>
            </p:nvPr>
          </p:nvSpPr>
          <p:spPr bwMode="auto">
            <a:xfrm>
              <a:off x="2612198" y="3525184"/>
              <a:ext cx="1524000" cy="152400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a:gradFill flip="none" rotWithShape="1">
                    <a:gsLst>
                      <a:gs pos="0">
                        <a:srgbClr val="FFFFFF"/>
                      </a:gs>
                      <a:gs pos="100000">
                        <a:srgbClr val="FFFFFF"/>
                      </a:gs>
                    </a:gsLst>
                    <a:lin ang="5400000" scaled="0"/>
                    <a:tileRect/>
                  </a:gradFill>
                  <a:ea typeface="Segoe UI" pitchFamily="34" charset="0"/>
                  <a:cs typeface="Segoe UI" pitchFamily="34" charset="0"/>
                </a:rPr>
                <a:t>Take Action</a:t>
              </a:r>
            </a:p>
          </p:txBody>
        </p:sp>
        <p:sp>
          <p:nvSpPr>
            <p:cNvPr id="11" name="Freeform 18">
              <a:extLst>
                <a:ext uri="{FF2B5EF4-FFF2-40B4-BE49-F238E27FC236}">
                  <a16:creationId xmlns:a16="http://schemas.microsoft.com/office/drawing/2014/main" id="{E12613E6-87AC-4E4E-9767-429022890A0F}"/>
                </a:ext>
              </a:extLst>
            </p:cNvPr>
            <p:cNvSpPr>
              <a:spLocks noChangeAspect="1"/>
            </p:cNvSpPr>
            <p:nvPr/>
          </p:nvSpPr>
          <p:spPr bwMode="auto">
            <a:xfrm>
              <a:off x="3007842" y="3716973"/>
              <a:ext cx="798480" cy="685572"/>
            </a:xfrm>
            <a:custGeom>
              <a:avLst/>
              <a:gdLst>
                <a:gd name="connsiteX0" fmla="*/ 818150 w 1115918"/>
                <a:gd name="connsiteY0" fmla="*/ 739683 h 958123"/>
                <a:gd name="connsiteX1" fmla="*/ 818150 w 1115918"/>
                <a:gd name="connsiteY1" fmla="*/ 869541 h 958123"/>
                <a:gd name="connsiteX2" fmla="*/ 1026430 w 1115918"/>
                <a:gd name="connsiteY2" fmla="*/ 869541 h 958123"/>
                <a:gd name="connsiteX3" fmla="*/ 1026430 w 1115918"/>
                <a:gd name="connsiteY3" fmla="*/ 739683 h 958123"/>
                <a:gd name="connsiteX4" fmla="*/ 575262 w 1115918"/>
                <a:gd name="connsiteY4" fmla="*/ 739683 h 958123"/>
                <a:gd name="connsiteX5" fmla="*/ 575262 w 1115918"/>
                <a:gd name="connsiteY5" fmla="*/ 869541 h 958123"/>
                <a:gd name="connsiteX6" fmla="*/ 783542 w 1115918"/>
                <a:gd name="connsiteY6" fmla="*/ 869541 h 958123"/>
                <a:gd name="connsiteX7" fmla="*/ 783542 w 1115918"/>
                <a:gd name="connsiteY7" fmla="*/ 739683 h 958123"/>
                <a:gd name="connsiteX8" fmla="*/ 332375 w 1115918"/>
                <a:gd name="connsiteY8" fmla="*/ 739683 h 958123"/>
                <a:gd name="connsiteX9" fmla="*/ 332375 w 1115918"/>
                <a:gd name="connsiteY9" fmla="*/ 869541 h 958123"/>
                <a:gd name="connsiteX10" fmla="*/ 540655 w 1115918"/>
                <a:gd name="connsiteY10" fmla="*/ 869541 h 958123"/>
                <a:gd name="connsiteX11" fmla="*/ 540655 w 1115918"/>
                <a:gd name="connsiteY11" fmla="*/ 739683 h 958123"/>
                <a:gd name="connsiteX12" fmla="*/ 89488 w 1115918"/>
                <a:gd name="connsiteY12" fmla="*/ 739683 h 958123"/>
                <a:gd name="connsiteX13" fmla="*/ 89488 w 1115918"/>
                <a:gd name="connsiteY13" fmla="*/ 869541 h 958123"/>
                <a:gd name="connsiteX14" fmla="*/ 297768 w 1115918"/>
                <a:gd name="connsiteY14" fmla="*/ 869541 h 958123"/>
                <a:gd name="connsiteX15" fmla="*/ 297768 w 1115918"/>
                <a:gd name="connsiteY15" fmla="*/ 739683 h 958123"/>
                <a:gd name="connsiteX16" fmla="*/ 818150 w 1115918"/>
                <a:gd name="connsiteY16" fmla="*/ 583625 h 958123"/>
                <a:gd name="connsiteX17" fmla="*/ 818150 w 1115918"/>
                <a:gd name="connsiteY17" fmla="*/ 713483 h 958123"/>
                <a:gd name="connsiteX18" fmla="*/ 1026430 w 1115918"/>
                <a:gd name="connsiteY18" fmla="*/ 713483 h 958123"/>
                <a:gd name="connsiteX19" fmla="*/ 1026430 w 1115918"/>
                <a:gd name="connsiteY19" fmla="*/ 583625 h 958123"/>
                <a:gd name="connsiteX20" fmla="*/ 575262 w 1115918"/>
                <a:gd name="connsiteY20" fmla="*/ 583625 h 958123"/>
                <a:gd name="connsiteX21" fmla="*/ 575262 w 1115918"/>
                <a:gd name="connsiteY21" fmla="*/ 713483 h 958123"/>
                <a:gd name="connsiteX22" fmla="*/ 783542 w 1115918"/>
                <a:gd name="connsiteY22" fmla="*/ 713483 h 958123"/>
                <a:gd name="connsiteX23" fmla="*/ 783542 w 1115918"/>
                <a:gd name="connsiteY23" fmla="*/ 583625 h 958123"/>
                <a:gd name="connsiteX24" fmla="*/ 332375 w 1115918"/>
                <a:gd name="connsiteY24" fmla="*/ 583625 h 958123"/>
                <a:gd name="connsiteX25" fmla="*/ 332375 w 1115918"/>
                <a:gd name="connsiteY25" fmla="*/ 713483 h 958123"/>
                <a:gd name="connsiteX26" fmla="*/ 540655 w 1115918"/>
                <a:gd name="connsiteY26" fmla="*/ 713483 h 958123"/>
                <a:gd name="connsiteX27" fmla="*/ 540655 w 1115918"/>
                <a:gd name="connsiteY27" fmla="*/ 583625 h 958123"/>
                <a:gd name="connsiteX28" fmla="*/ 89488 w 1115918"/>
                <a:gd name="connsiteY28" fmla="*/ 583625 h 958123"/>
                <a:gd name="connsiteX29" fmla="*/ 89488 w 1115918"/>
                <a:gd name="connsiteY29" fmla="*/ 713483 h 958123"/>
                <a:gd name="connsiteX30" fmla="*/ 297768 w 1115918"/>
                <a:gd name="connsiteY30" fmla="*/ 713483 h 958123"/>
                <a:gd name="connsiteX31" fmla="*/ 297768 w 1115918"/>
                <a:gd name="connsiteY31" fmla="*/ 583625 h 958123"/>
                <a:gd name="connsiteX32" fmla="*/ 818150 w 1115918"/>
                <a:gd name="connsiteY32" fmla="*/ 418755 h 958123"/>
                <a:gd name="connsiteX33" fmla="*/ 818150 w 1115918"/>
                <a:gd name="connsiteY33" fmla="*/ 548613 h 958123"/>
                <a:gd name="connsiteX34" fmla="*/ 1026430 w 1115918"/>
                <a:gd name="connsiteY34" fmla="*/ 548613 h 958123"/>
                <a:gd name="connsiteX35" fmla="*/ 1026430 w 1115918"/>
                <a:gd name="connsiteY35" fmla="*/ 418755 h 958123"/>
                <a:gd name="connsiteX36" fmla="*/ 575262 w 1115918"/>
                <a:gd name="connsiteY36" fmla="*/ 418755 h 958123"/>
                <a:gd name="connsiteX37" fmla="*/ 575262 w 1115918"/>
                <a:gd name="connsiteY37" fmla="*/ 548613 h 958123"/>
                <a:gd name="connsiteX38" fmla="*/ 783542 w 1115918"/>
                <a:gd name="connsiteY38" fmla="*/ 548613 h 958123"/>
                <a:gd name="connsiteX39" fmla="*/ 783542 w 1115918"/>
                <a:gd name="connsiteY39" fmla="*/ 418755 h 958123"/>
                <a:gd name="connsiteX40" fmla="*/ 332375 w 1115918"/>
                <a:gd name="connsiteY40" fmla="*/ 418755 h 958123"/>
                <a:gd name="connsiteX41" fmla="*/ 332375 w 1115918"/>
                <a:gd name="connsiteY41" fmla="*/ 548613 h 958123"/>
                <a:gd name="connsiteX42" fmla="*/ 540655 w 1115918"/>
                <a:gd name="connsiteY42" fmla="*/ 548613 h 958123"/>
                <a:gd name="connsiteX43" fmla="*/ 540655 w 1115918"/>
                <a:gd name="connsiteY43" fmla="*/ 418755 h 958123"/>
                <a:gd name="connsiteX44" fmla="*/ 89488 w 1115918"/>
                <a:gd name="connsiteY44" fmla="*/ 418755 h 958123"/>
                <a:gd name="connsiteX45" fmla="*/ 89488 w 1115918"/>
                <a:gd name="connsiteY45" fmla="*/ 548613 h 958123"/>
                <a:gd name="connsiteX46" fmla="*/ 297768 w 1115918"/>
                <a:gd name="connsiteY46" fmla="*/ 548613 h 958123"/>
                <a:gd name="connsiteX47" fmla="*/ 297768 w 1115918"/>
                <a:gd name="connsiteY47" fmla="*/ 418755 h 958123"/>
                <a:gd name="connsiteX48" fmla="*/ 818150 w 1115918"/>
                <a:gd name="connsiteY48" fmla="*/ 249772 h 958123"/>
                <a:gd name="connsiteX49" fmla="*/ 818150 w 1115918"/>
                <a:gd name="connsiteY49" fmla="*/ 379630 h 958123"/>
                <a:gd name="connsiteX50" fmla="*/ 1026430 w 1115918"/>
                <a:gd name="connsiteY50" fmla="*/ 379630 h 958123"/>
                <a:gd name="connsiteX51" fmla="*/ 1026430 w 1115918"/>
                <a:gd name="connsiteY51" fmla="*/ 249772 h 958123"/>
                <a:gd name="connsiteX52" fmla="*/ 575262 w 1115918"/>
                <a:gd name="connsiteY52" fmla="*/ 249772 h 958123"/>
                <a:gd name="connsiteX53" fmla="*/ 575262 w 1115918"/>
                <a:gd name="connsiteY53" fmla="*/ 379630 h 958123"/>
                <a:gd name="connsiteX54" fmla="*/ 783542 w 1115918"/>
                <a:gd name="connsiteY54" fmla="*/ 379630 h 958123"/>
                <a:gd name="connsiteX55" fmla="*/ 783542 w 1115918"/>
                <a:gd name="connsiteY55" fmla="*/ 249772 h 958123"/>
                <a:gd name="connsiteX56" fmla="*/ 332375 w 1115918"/>
                <a:gd name="connsiteY56" fmla="*/ 249772 h 958123"/>
                <a:gd name="connsiteX57" fmla="*/ 332375 w 1115918"/>
                <a:gd name="connsiteY57" fmla="*/ 379630 h 958123"/>
                <a:gd name="connsiteX58" fmla="*/ 540655 w 1115918"/>
                <a:gd name="connsiteY58" fmla="*/ 379630 h 958123"/>
                <a:gd name="connsiteX59" fmla="*/ 540655 w 1115918"/>
                <a:gd name="connsiteY59" fmla="*/ 249772 h 958123"/>
                <a:gd name="connsiteX60" fmla="*/ 89488 w 1115918"/>
                <a:gd name="connsiteY60" fmla="*/ 249772 h 958123"/>
                <a:gd name="connsiteX61" fmla="*/ 89488 w 1115918"/>
                <a:gd name="connsiteY61" fmla="*/ 379630 h 958123"/>
                <a:gd name="connsiteX62" fmla="*/ 297768 w 1115918"/>
                <a:gd name="connsiteY62" fmla="*/ 379630 h 958123"/>
                <a:gd name="connsiteX63" fmla="*/ 297768 w 1115918"/>
                <a:gd name="connsiteY63" fmla="*/ 249772 h 958123"/>
                <a:gd name="connsiteX64" fmla="*/ 57890 w 1115918"/>
                <a:gd name="connsiteY64" fmla="*/ 0 h 958123"/>
                <a:gd name="connsiteX65" fmla="*/ 1058028 w 1115918"/>
                <a:gd name="connsiteY65" fmla="*/ 0 h 958123"/>
                <a:gd name="connsiteX66" fmla="*/ 1115918 w 1115918"/>
                <a:gd name="connsiteY66" fmla="*/ 57890 h 958123"/>
                <a:gd name="connsiteX67" fmla="*/ 1115918 w 1115918"/>
                <a:gd name="connsiteY67" fmla="*/ 900233 h 958123"/>
                <a:gd name="connsiteX68" fmla="*/ 1058028 w 1115918"/>
                <a:gd name="connsiteY68" fmla="*/ 958123 h 958123"/>
                <a:gd name="connsiteX69" fmla="*/ 57890 w 1115918"/>
                <a:gd name="connsiteY69" fmla="*/ 958123 h 958123"/>
                <a:gd name="connsiteX70" fmla="*/ 0 w 1115918"/>
                <a:gd name="connsiteY70" fmla="*/ 900233 h 958123"/>
                <a:gd name="connsiteX71" fmla="*/ 0 w 1115918"/>
                <a:gd name="connsiteY71" fmla="*/ 57890 h 958123"/>
                <a:gd name="connsiteX72" fmla="*/ 57890 w 1115918"/>
                <a:gd name="connsiteY72" fmla="*/ 0 h 958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1115918" h="958123">
                  <a:moveTo>
                    <a:pt x="818150" y="739683"/>
                  </a:moveTo>
                  <a:lnTo>
                    <a:pt x="818150" y="869541"/>
                  </a:lnTo>
                  <a:lnTo>
                    <a:pt x="1026430" y="869541"/>
                  </a:lnTo>
                  <a:lnTo>
                    <a:pt x="1026430" y="739683"/>
                  </a:lnTo>
                  <a:close/>
                  <a:moveTo>
                    <a:pt x="575262" y="739683"/>
                  </a:moveTo>
                  <a:lnTo>
                    <a:pt x="575262" y="869541"/>
                  </a:lnTo>
                  <a:lnTo>
                    <a:pt x="783542" y="869541"/>
                  </a:lnTo>
                  <a:lnTo>
                    <a:pt x="783542" y="739683"/>
                  </a:lnTo>
                  <a:close/>
                  <a:moveTo>
                    <a:pt x="332375" y="739683"/>
                  </a:moveTo>
                  <a:lnTo>
                    <a:pt x="332375" y="869541"/>
                  </a:lnTo>
                  <a:lnTo>
                    <a:pt x="540655" y="869541"/>
                  </a:lnTo>
                  <a:lnTo>
                    <a:pt x="540655" y="739683"/>
                  </a:lnTo>
                  <a:close/>
                  <a:moveTo>
                    <a:pt x="89488" y="739683"/>
                  </a:moveTo>
                  <a:lnTo>
                    <a:pt x="89488" y="869541"/>
                  </a:lnTo>
                  <a:lnTo>
                    <a:pt x="297768" y="869541"/>
                  </a:lnTo>
                  <a:lnTo>
                    <a:pt x="297768" y="739683"/>
                  </a:lnTo>
                  <a:close/>
                  <a:moveTo>
                    <a:pt x="818150" y="583625"/>
                  </a:moveTo>
                  <a:lnTo>
                    <a:pt x="818150" y="713483"/>
                  </a:lnTo>
                  <a:lnTo>
                    <a:pt x="1026430" y="713483"/>
                  </a:lnTo>
                  <a:lnTo>
                    <a:pt x="1026430" y="583625"/>
                  </a:lnTo>
                  <a:close/>
                  <a:moveTo>
                    <a:pt x="575262" y="583625"/>
                  </a:moveTo>
                  <a:lnTo>
                    <a:pt x="575262" y="713483"/>
                  </a:lnTo>
                  <a:lnTo>
                    <a:pt x="783542" y="713483"/>
                  </a:lnTo>
                  <a:lnTo>
                    <a:pt x="783542" y="583625"/>
                  </a:lnTo>
                  <a:close/>
                  <a:moveTo>
                    <a:pt x="332375" y="583625"/>
                  </a:moveTo>
                  <a:lnTo>
                    <a:pt x="332375" y="713483"/>
                  </a:lnTo>
                  <a:lnTo>
                    <a:pt x="540655" y="713483"/>
                  </a:lnTo>
                  <a:lnTo>
                    <a:pt x="540655" y="583625"/>
                  </a:lnTo>
                  <a:close/>
                  <a:moveTo>
                    <a:pt x="89488" y="583625"/>
                  </a:moveTo>
                  <a:lnTo>
                    <a:pt x="89488" y="713483"/>
                  </a:lnTo>
                  <a:lnTo>
                    <a:pt x="297768" y="713483"/>
                  </a:lnTo>
                  <a:lnTo>
                    <a:pt x="297768" y="583625"/>
                  </a:lnTo>
                  <a:close/>
                  <a:moveTo>
                    <a:pt x="818150" y="418755"/>
                  </a:moveTo>
                  <a:lnTo>
                    <a:pt x="818150" y="548613"/>
                  </a:lnTo>
                  <a:lnTo>
                    <a:pt x="1026430" y="548613"/>
                  </a:lnTo>
                  <a:lnTo>
                    <a:pt x="1026430" y="418755"/>
                  </a:lnTo>
                  <a:close/>
                  <a:moveTo>
                    <a:pt x="575262" y="418755"/>
                  </a:moveTo>
                  <a:lnTo>
                    <a:pt x="575262" y="548613"/>
                  </a:lnTo>
                  <a:lnTo>
                    <a:pt x="783542" y="548613"/>
                  </a:lnTo>
                  <a:lnTo>
                    <a:pt x="783542" y="418755"/>
                  </a:lnTo>
                  <a:close/>
                  <a:moveTo>
                    <a:pt x="332375" y="418755"/>
                  </a:moveTo>
                  <a:lnTo>
                    <a:pt x="332375" y="548613"/>
                  </a:lnTo>
                  <a:lnTo>
                    <a:pt x="540655" y="548613"/>
                  </a:lnTo>
                  <a:lnTo>
                    <a:pt x="540655" y="418755"/>
                  </a:lnTo>
                  <a:close/>
                  <a:moveTo>
                    <a:pt x="89488" y="418755"/>
                  </a:moveTo>
                  <a:lnTo>
                    <a:pt x="89488" y="548613"/>
                  </a:lnTo>
                  <a:lnTo>
                    <a:pt x="297768" y="548613"/>
                  </a:lnTo>
                  <a:lnTo>
                    <a:pt x="297768" y="418755"/>
                  </a:lnTo>
                  <a:close/>
                  <a:moveTo>
                    <a:pt x="818150" y="249772"/>
                  </a:moveTo>
                  <a:lnTo>
                    <a:pt x="818150" y="379630"/>
                  </a:lnTo>
                  <a:lnTo>
                    <a:pt x="1026430" y="379630"/>
                  </a:lnTo>
                  <a:lnTo>
                    <a:pt x="1026430" y="249772"/>
                  </a:lnTo>
                  <a:close/>
                  <a:moveTo>
                    <a:pt x="575262" y="249772"/>
                  </a:moveTo>
                  <a:lnTo>
                    <a:pt x="575262" y="379630"/>
                  </a:lnTo>
                  <a:lnTo>
                    <a:pt x="783542" y="379630"/>
                  </a:lnTo>
                  <a:lnTo>
                    <a:pt x="783542" y="249772"/>
                  </a:lnTo>
                  <a:close/>
                  <a:moveTo>
                    <a:pt x="332375" y="249772"/>
                  </a:moveTo>
                  <a:lnTo>
                    <a:pt x="332375" y="379630"/>
                  </a:lnTo>
                  <a:lnTo>
                    <a:pt x="540655" y="379630"/>
                  </a:lnTo>
                  <a:lnTo>
                    <a:pt x="540655" y="249772"/>
                  </a:lnTo>
                  <a:close/>
                  <a:moveTo>
                    <a:pt x="89488" y="249772"/>
                  </a:moveTo>
                  <a:lnTo>
                    <a:pt x="89488" y="379630"/>
                  </a:lnTo>
                  <a:lnTo>
                    <a:pt x="297768" y="379630"/>
                  </a:lnTo>
                  <a:lnTo>
                    <a:pt x="297768" y="249772"/>
                  </a:lnTo>
                  <a:close/>
                  <a:moveTo>
                    <a:pt x="57890" y="0"/>
                  </a:moveTo>
                  <a:lnTo>
                    <a:pt x="1058028" y="0"/>
                  </a:lnTo>
                  <a:cubicBezTo>
                    <a:pt x="1090000" y="0"/>
                    <a:pt x="1115918" y="25918"/>
                    <a:pt x="1115918" y="57890"/>
                  </a:cubicBezTo>
                  <a:lnTo>
                    <a:pt x="1115918" y="900233"/>
                  </a:lnTo>
                  <a:cubicBezTo>
                    <a:pt x="1115918" y="932205"/>
                    <a:pt x="1090000" y="958123"/>
                    <a:pt x="1058028" y="958123"/>
                  </a:cubicBezTo>
                  <a:lnTo>
                    <a:pt x="57890" y="958123"/>
                  </a:lnTo>
                  <a:cubicBezTo>
                    <a:pt x="25918" y="958123"/>
                    <a:pt x="0" y="932205"/>
                    <a:pt x="0" y="900233"/>
                  </a:cubicBezTo>
                  <a:lnTo>
                    <a:pt x="0" y="57890"/>
                  </a:lnTo>
                  <a:cubicBezTo>
                    <a:pt x="0" y="25918"/>
                    <a:pt x="25918" y="0"/>
                    <a:pt x="57890"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932406"/>
              <a:endParaRPr lang="en-US" sz="8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12" name="Rectangle 11">
            <a:extLst>
              <a:ext uri="{FF2B5EF4-FFF2-40B4-BE49-F238E27FC236}">
                <a16:creationId xmlns:a16="http://schemas.microsoft.com/office/drawing/2014/main" id="{5C8BDCAB-65C1-41BF-A526-D534BBB62BD1}"/>
              </a:ext>
            </a:extLst>
          </p:cNvPr>
          <p:cNvSpPr/>
          <p:nvPr>
            <p:custDataLst>
              <p:tags r:id="rId2"/>
            </p:custDataLst>
          </p:nvPr>
        </p:nvSpPr>
        <p:spPr bwMode="auto">
          <a:xfrm>
            <a:off x="4418516" y="2076487"/>
            <a:ext cx="1524000" cy="1524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a:gradFill flip="none" rotWithShape="1">
                  <a:gsLst>
                    <a:gs pos="0">
                      <a:srgbClr val="FFFFFF"/>
                    </a:gs>
                    <a:gs pos="100000">
                      <a:srgbClr val="FFFFFF"/>
                    </a:gs>
                  </a:gsLst>
                  <a:lin ang="5400000" scaled="0"/>
                  <a:tileRect/>
                </a:gradFill>
                <a:ea typeface="Segoe UI" pitchFamily="34" charset="0"/>
                <a:cs typeface="Segoe UI" pitchFamily="34" charset="0"/>
              </a:rPr>
              <a:t>Device Simulator</a:t>
            </a:r>
          </a:p>
        </p:txBody>
      </p:sp>
      <p:sp>
        <p:nvSpPr>
          <p:cNvPr id="13" name="Rectangle 12">
            <a:extLst>
              <a:ext uri="{FF2B5EF4-FFF2-40B4-BE49-F238E27FC236}">
                <a16:creationId xmlns:a16="http://schemas.microsoft.com/office/drawing/2014/main" id="{54663D74-E631-4ABD-8407-E32599F036AE}"/>
              </a:ext>
            </a:extLst>
          </p:cNvPr>
          <p:cNvSpPr/>
          <p:nvPr>
            <p:custDataLst>
              <p:tags r:id="rId3"/>
            </p:custDataLst>
          </p:nvPr>
        </p:nvSpPr>
        <p:spPr bwMode="auto">
          <a:xfrm>
            <a:off x="5652889" y="4026844"/>
            <a:ext cx="1524000" cy="1524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r>
              <a:rPr lang="en-US" dirty="0">
                <a:gradFill flip="none" rotWithShape="1">
                  <a:gsLst>
                    <a:gs pos="0">
                      <a:srgbClr val="FFFFFF"/>
                    </a:gs>
                    <a:gs pos="100000">
                      <a:srgbClr val="FFFFFF"/>
                    </a:gs>
                  </a:gsLst>
                  <a:lin ang="5400000" scaled="0"/>
                  <a:tileRect/>
                </a:gradFill>
                <a:ea typeface="Segoe UI" pitchFamily="34" charset="0"/>
                <a:cs typeface="Segoe UI" pitchFamily="34" charset="0"/>
              </a:rPr>
              <a:t>Web Job</a:t>
            </a:r>
          </a:p>
        </p:txBody>
      </p:sp>
      <p:cxnSp>
        <p:nvCxnSpPr>
          <p:cNvPr id="14" name="Straight Arrow Connector 13">
            <a:extLst>
              <a:ext uri="{FF2B5EF4-FFF2-40B4-BE49-F238E27FC236}">
                <a16:creationId xmlns:a16="http://schemas.microsoft.com/office/drawing/2014/main" id="{EB05334D-4A4F-4B07-9EA2-2D8A5C52DDC1}"/>
              </a:ext>
            </a:extLst>
          </p:cNvPr>
          <p:cNvCxnSpPr>
            <a:cxnSpLocks/>
            <a:stCxn id="13" idx="0"/>
          </p:cNvCxnSpPr>
          <p:nvPr/>
        </p:nvCxnSpPr>
        <p:spPr>
          <a:xfrm flipV="1">
            <a:off x="6414889" y="3064238"/>
            <a:ext cx="904044" cy="962606"/>
          </a:xfrm>
          <a:prstGeom prst="straightConnector1">
            <a:avLst/>
          </a:prstGeom>
          <a:ln w="12700">
            <a:solidFill>
              <a:schemeClr val="tx1"/>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7DE8F5F2-B646-45A3-89F0-A8B80FDAFE48}"/>
              </a:ext>
            </a:extLst>
          </p:cNvPr>
          <p:cNvCxnSpPr>
            <a:cxnSpLocks/>
          </p:cNvCxnSpPr>
          <p:nvPr/>
        </p:nvCxnSpPr>
        <p:spPr>
          <a:xfrm flipH="1" flipV="1">
            <a:off x="7176890" y="4769826"/>
            <a:ext cx="2971282" cy="17745"/>
          </a:xfrm>
          <a:prstGeom prst="straightConnector1">
            <a:avLst/>
          </a:prstGeom>
          <a:ln w="12700">
            <a:solidFill>
              <a:schemeClr val="tx1"/>
            </a:solidFill>
            <a:headEnd type="arrow"/>
            <a:tailEnd type="arrow"/>
          </a:ln>
        </p:spPr>
        <p:style>
          <a:lnRef idx="1">
            <a:schemeClr val="accent1"/>
          </a:lnRef>
          <a:fillRef idx="0">
            <a:schemeClr val="accent1"/>
          </a:fillRef>
          <a:effectRef idx="0">
            <a:schemeClr val="accent1"/>
          </a:effectRef>
          <a:fontRef idx="minor">
            <a:schemeClr val="tx1"/>
          </a:fontRef>
        </p:style>
      </p:cxnSp>
      <p:pic>
        <p:nvPicPr>
          <p:cNvPr id="16" name="Picture 15" descr="A picture containing object&#10;&#10;Description generated with very high confidence">
            <a:extLst>
              <a:ext uri="{FF2B5EF4-FFF2-40B4-BE49-F238E27FC236}">
                <a16:creationId xmlns:a16="http://schemas.microsoft.com/office/drawing/2014/main" id="{64AF9FD9-CA79-4515-AB66-8C487CAE2E0F}"/>
              </a:ext>
            </a:extLst>
          </p:cNvPr>
          <p:cNvPicPr>
            <a:picLocks noChangeAspect="1"/>
          </p:cNvPicPr>
          <p:nvPr/>
        </p:nvPicPr>
        <p:blipFill>
          <a:blip r:embed="rId7"/>
          <a:stretch>
            <a:fillRect/>
          </a:stretch>
        </p:blipFill>
        <p:spPr>
          <a:xfrm>
            <a:off x="7783990" y="2388534"/>
            <a:ext cx="1292087" cy="678346"/>
          </a:xfrm>
          <a:prstGeom prst="rect">
            <a:avLst/>
          </a:prstGeom>
        </p:spPr>
      </p:pic>
      <p:pic>
        <p:nvPicPr>
          <p:cNvPr id="17" name="Picture 16" descr="A picture containing vector graphics&#10;&#10;Description generated with very high confidence">
            <a:extLst>
              <a:ext uri="{FF2B5EF4-FFF2-40B4-BE49-F238E27FC236}">
                <a16:creationId xmlns:a16="http://schemas.microsoft.com/office/drawing/2014/main" id="{E867F210-DC1C-47CA-8D5D-2B189C16B12E}"/>
              </a:ext>
            </a:extLst>
          </p:cNvPr>
          <p:cNvPicPr>
            <a:picLocks noChangeAspect="1"/>
          </p:cNvPicPr>
          <p:nvPr/>
        </p:nvPicPr>
        <p:blipFill>
          <a:blip r:embed="rId8"/>
          <a:stretch>
            <a:fillRect/>
          </a:stretch>
        </p:blipFill>
        <p:spPr>
          <a:xfrm>
            <a:off x="5913437" y="4223795"/>
            <a:ext cx="900692" cy="900692"/>
          </a:xfrm>
          <a:prstGeom prst="rect">
            <a:avLst/>
          </a:prstGeom>
        </p:spPr>
      </p:pic>
      <p:pic>
        <p:nvPicPr>
          <p:cNvPr id="18" name="Picture 17" descr="A close up of a sign&#10;&#10;Description generated with very high confidence">
            <a:extLst>
              <a:ext uri="{FF2B5EF4-FFF2-40B4-BE49-F238E27FC236}">
                <a16:creationId xmlns:a16="http://schemas.microsoft.com/office/drawing/2014/main" id="{CAF064D8-2D0C-422E-BAC8-DC4658973240}"/>
              </a:ext>
            </a:extLst>
          </p:cNvPr>
          <p:cNvPicPr>
            <a:picLocks noChangeAspect="1"/>
          </p:cNvPicPr>
          <p:nvPr/>
        </p:nvPicPr>
        <p:blipFill>
          <a:blip r:embed="rId9"/>
          <a:stretch>
            <a:fillRect/>
          </a:stretch>
        </p:blipFill>
        <p:spPr>
          <a:xfrm>
            <a:off x="4569830" y="2207892"/>
            <a:ext cx="1083059" cy="789025"/>
          </a:xfrm>
          <a:prstGeom prst="rect">
            <a:avLst/>
          </a:prstGeom>
        </p:spPr>
      </p:pic>
      <p:cxnSp>
        <p:nvCxnSpPr>
          <p:cNvPr id="19" name="Straight Arrow Connector 18">
            <a:extLst>
              <a:ext uri="{FF2B5EF4-FFF2-40B4-BE49-F238E27FC236}">
                <a16:creationId xmlns:a16="http://schemas.microsoft.com/office/drawing/2014/main" id="{245629D9-9F6E-4AA5-B5EE-3E9E6FE1EA80}"/>
              </a:ext>
            </a:extLst>
          </p:cNvPr>
          <p:cNvCxnSpPr>
            <a:cxnSpLocks/>
          </p:cNvCxnSpPr>
          <p:nvPr/>
        </p:nvCxnSpPr>
        <p:spPr>
          <a:xfrm>
            <a:off x="6014652" y="2679077"/>
            <a:ext cx="1704517" cy="0"/>
          </a:xfrm>
          <a:prstGeom prst="straightConnector1">
            <a:avLst/>
          </a:prstGeom>
          <a:ln w="12700">
            <a:solidFill>
              <a:schemeClr val="tx1"/>
            </a:solidFill>
            <a:headEnd type="arrow"/>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34620996"/>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9"/>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2" grpId="0" animBg="1"/>
      <p:bldP spid="13"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DFA8AB-0E54-4281-A697-FAD89A142DA0}"/>
              </a:ext>
            </a:extLst>
          </p:cNvPr>
          <p:cNvSpPr>
            <a:spLocks noGrp="1"/>
          </p:cNvSpPr>
          <p:nvPr>
            <p:ph type="title"/>
          </p:nvPr>
        </p:nvSpPr>
        <p:spPr/>
        <p:txBody>
          <a:bodyPr>
            <a:normAutofit/>
          </a:bodyPr>
          <a:lstStyle/>
          <a:p>
            <a:r>
              <a:rPr lang="en-US" sz="4400" b="1" dirty="0"/>
              <a:t>IOT Hub</a:t>
            </a:r>
          </a:p>
        </p:txBody>
      </p:sp>
      <p:sp>
        <p:nvSpPr>
          <p:cNvPr id="3" name="Content Placeholder 2">
            <a:extLst>
              <a:ext uri="{FF2B5EF4-FFF2-40B4-BE49-F238E27FC236}">
                <a16:creationId xmlns:a16="http://schemas.microsoft.com/office/drawing/2014/main" id="{90F8BF1F-BDA1-4947-919F-06E56B6E514F}"/>
              </a:ext>
            </a:extLst>
          </p:cNvPr>
          <p:cNvSpPr>
            <a:spLocks noGrp="1"/>
          </p:cNvSpPr>
          <p:nvPr>
            <p:ph idx="1"/>
          </p:nvPr>
        </p:nvSpPr>
        <p:spPr/>
        <p:txBody>
          <a:bodyPr>
            <a:normAutofit/>
          </a:bodyPr>
          <a:lstStyle/>
          <a:p>
            <a:pPr>
              <a:buFont typeface="Wingdings" panose="05000000000000000000" pitchFamily="2" charset="2"/>
              <a:buChar char="v"/>
            </a:pPr>
            <a:r>
              <a:rPr lang="en-US" dirty="0"/>
              <a:t>Device identity and registry</a:t>
            </a:r>
          </a:p>
          <a:p>
            <a:pPr>
              <a:buFont typeface="Wingdings" panose="05000000000000000000" pitchFamily="2" charset="2"/>
              <a:buChar char="v"/>
            </a:pPr>
            <a:r>
              <a:rPr lang="en-US" dirty="0"/>
              <a:t>Device-to-cloud and cloud-to-device communication</a:t>
            </a:r>
          </a:p>
          <a:p>
            <a:pPr>
              <a:buFont typeface="Wingdings" panose="05000000000000000000" pitchFamily="2" charset="2"/>
              <a:buChar char="v"/>
            </a:pPr>
            <a:r>
              <a:rPr lang="en-US" dirty="0"/>
              <a:t>We can query the device store information.</a:t>
            </a:r>
          </a:p>
          <a:p>
            <a:pPr>
              <a:buFont typeface="Wingdings" panose="05000000000000000000" pitchFamily="2" charset="2"/>
              <a:buChar char="v"/>
            </a:pPr>
            <a:r>
              <a:rPr lang="en-US" dirty="0"/>
              <a:t>Monitoring for devices and messages</a:t>
            </a:r>
          </a:p>
          <a:p>
            <a:endParaRPr lang="en-US" dirty="0"/>
          </a:p>
        </p:txBody>
      </p:sp>
      <p:pic>
        <p:nvPicPr>
          <p:cNvPr id="5" name="Picture 4">
            <a:extLst>
              <a:ext uri="{FF2B5EF4-FFF2-40B4-BE49-F238E27FC236}">
                <a16:creationId xmlns:a16="http://schemas.microsoft.com/office/drawing/2014/main" id="{C9121D9E-8626-4CEF-8E67-24DD83800F5B}"/>
              </a:ext>
            </a:extLst>
          </p:cNvPr>
          <p:cNvPicPr>
            <a:picLocks noChangeAspect="1"/>
          </p:cNvPicPr>
          <p:nvPr/>
        </p:nvPicPr>
        <p:blipFill>
          <a:blip r:embed="rId3"/>
          <a:stretch>
            <a:fillRect/>
          </a:stretch>
        </p:blipFill>
        <p:spPr>
          <a:xfrm>
            <a:off x="7928386" y="2192517"/>
            <a:ext cx="4128676" cy="3981473"/>
          </a:xfrm>
          <a:prstGeom prst="rect">
            <a:avLst/>
          </a:prstGeom>
        </p:spPr>
      </p:pic>
      <p:sp>
        <p:nvSpPr>
          <p:cNvPr id="6" name="TextBox 5">
            <a:extLst>
              <a:ext uri="{FF2B5EF4-FFF2-40B4-BE49-F238E27FC236}">
                <a16:creationId xmlns:a16="http://schemas.microsoft.com/office/drawing/2014/main" id="{2A737BE3-013D-47FD-87D2-1C850FBE7794}"/>
              </a:ext>
            </a:extLst>
          </p:cNvPr>
          <p:cNvSpPr txBox="1"/>
          <p:nvPr/>
        </p:nvSpPr>
        <p:spPr>
          <a:xfrm>
            <a:off x="7941241" y="1791925"/>
            <a:ext cx="3124200" cy="461665"/>
          </a:xfrm>
          <a:prstGeom prst="rect">
            <a:avLst/>
          </a:prstGeom>
          <a:noFill/>
        </p:spPr>
        <p:txBody>
          <a:bodyPr wrap="square" rtlCol="0">
            <a:spAutoFit/>
          </a:bodyPr>
          <a:lstStyle/>
          <a:p>
            <a:r>
              <a:rPr lang="en-US" sz="2400" b="1" dirty="0"/>
              <a:t>Pricing</a:t>
            </a:r>
            <a:endParaRPr lang="en-US" b="1" dirty="0"/>
          </a:p>
        </p:txBody>
      </p:sp>
    </p:spTree>
    <p:extLst>
      <p:ext uri="{BB962C8B-B14F-4D97-AF65-F5344CB8AC3E}">
        <p14:creationId xmlns:p14="http://schemas.microsoft.com/office/powerpoint/2010/main" val="287799180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MT_TILE" val="YES"/>
</p:tagLst>
</file>

<file path=ppt/tags/tag11.xml><?xml version="1.0" encoding="utf-8"?>
<p:tagLst xmlns:a="http://schemas.openxmlformats.org/drawingml/2006/main" xmlns:r="http://schemas.openxmlformats.org/officeDocument/2006/relationships" xmlns:p="http://schemas.openxmlformats.org/presentationml/2006/main">
  <p:tag name="MT_TILE" val="YES"/>
</p:tagLst>
</file>

<file path=ppt/tags/tag12.xml><?xml version="1.0" encoding="utf-8"?>
<p:tagLst xmlns:a="http://schemas.openxmlformats.org/drawingml/2006/main" xmlns:r="http://schemas.openxmlformats.org/officeDocument/2006/relationships" xmlns:p="http://schemas.openxmlformats.org/presentationml/2006/main">
  <p:tag name="MT_TILE" val="YES"/>
</p:tagLst>
</file>

<file path=ppt/tags/tag13.xml><?xml version="1.0" encoding="utf-8"?>
<p:tagLst xmlns:a="http://schemas.openxmlformats.org/drawingml/2006/main" xmlns:r="http://schemas.openxmlformats.org/officeDocument/2006/relationships" xmlns:p="http://schemas.openxmlformats.org/presentationml/2006/main">
  <p:tag name="MT_TILE" val="YES"/>
</p:tagLst>
</file>

<file path=ppt/tags/tag14.xml><?xml version="1.0" encoding="utf-8"?>
<p:tagLst xmlns:a="http://schemas.openxmlformats.org/drawingml/2006/main" xmlns:r="http://schemas.openxmlformats.org/officeDocument/2006/relationships" xmlns:p="http://schemas.openxmlformats.org/presentationml/2006/main">
  <p:tag name="MT_TILE" val="YES"/>
</p:tagLst>
</file>

<file path=ppt/tags/tag15.xml><?xml version="1.0" encoding="utf-8"?>
<p:tagLst xmlns:a="http://schemas.openxmlformats.org/drawingml/2006/main" xmlns:r="http://schemas.openxmlformats.org/officeDocument/2006/relationships" xmlns:p="http://schemas.openxmlformats.org/presentationml/2006/main">
  <p:tag name="MT_TILE" val="YES"/>
</p:tagLst>
</file>

<file path=ppt/tags/tag16.xml><?xml version="1.0" encoding="utf-8"?>
<p:tagLst xmlns:a="http://schemas.openxmlformats.org/drawingml/2006/main" xmlns:r="http://schemas.openxmlformats.org/officeDocument/2006/relationships" xmlns:p="http://schemas.openxmlformats.org/presentationml/2006/main">
  <p:tag name="MT_TILE" val="YES"/>
</p:tagLst>
</file>

<file path=ppt/tags/tag17.xml><?xml version="1.0" encoding="utf-8"?>
<p:tagLst xmlns:a="http://schemas.openxmlformats.org/drawingml/2006/main" xmlns:r="http://schemas.openxmlformats.org/officeDocument/2006/relationships" xmlns:p="http://schemas.openxmlformats.org/presentationml/2006/main">
  <p:tag name="MT_TILE" val="YES"/>
</p:tagLst>
</file>

<file path=ppt/tags/tag18.xml><?xml version="1.0" encoding="utf-8"?>
<p:tagLst xmlns:a="http://schemas.openxmlformats.org/drawingml/2006/main" xmlns:r="http://schemas.openxmlformats.org/officeDocument/2006/relationships" xmlns:p="http://schemas.openxmlformats.org/presentationml/2006/main">
  <p:tag name="MT_TILE" val="YES"/>
</p:tagLst>
</file>

<file path=ppt/tags/tag19.xml><?xml version="1.0" encoding="utf-8"?>
<p:tagLst xmlns:a="http://schemas.openxmlformats.org/drawingml/2006/main" xmlns:r="http://schemas.openxmlformats.org/officeDocument/2006/relationships" xmlns:p="http://schemas.openxmlformats.org/presentationml/2006/main">
  <p:tag name="MT_TILE" val="YES"/>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MT_TILE" val="YES"/>
</p:tagLst>
</file>

<file path=ppt/tags/tag21.xml><?xml version="1.0" encoding="utf-8"?>
<p:tagLst xmlns:a="http://schemas.openxmlformats.org/drawingml/2006/main" xmlns:r="http://schemas.openxmlformats.org/officeDocument/2006/relationships" xmlns:p="http://schemas.openxmlformats.org/presentationml/2006/main">
  <p:tag name="MT_TILE" val="YES"/>
</p:tagLst>
</file>

<file path=ppt/tags/tag22.xml><?xml version="1.0" encoding="utf-8"?>
<p:tagLst xmlns:a="http://schemas.openxmlformats.org/drawingml/2006/main" xmlns:r="http://schemas.openxmlformats.org/officeDocument/2006/relationships" xmlns:p="http://schemas.openxmlformats.org/presentationml/2006/main">
  <p:tag name="MT_TILE" val="YES"/>
</p:tagLst>
</file>

<file path=ppt/tags/tag23.xml><?xml version="1.0" encoding="utf-8"?>
<p:tagLst xmlns:a="http://schemas.openxmlformats.org/drawingml/2006/main" xmlns:r="http://schemas.openxmlformats.org/officeDocument/2006/relationships" xmlns:p="http://schemas.openxmlformats.org/presentationml/2006/main">
  <p:tag name="MT_TILE" val="YES"/>
</p:tagLst>
</file>

<file path=ppt/tags/tag24.xml><?xml version="1.0" encoding="utf-8"?>
<p:tagLst xmlns:a="http://schemas.openxmlformats.org/drawingml/2006/main" xmlns:r="http://schemas.openxmlformats.org/officeDocument/2006/relationships" xmlns:p="http://schemas.openxmlformats.org/presentationml/2006/main">
  <p:tag name="MT_TILE" val="YES"/>
</p:tagLst>
</file>

<file path=ppt/tags/tag25.xml><?xml version="1.0" encoding="utf-8"?>
<p:tagLst xmlns:a="http://schemas.openxmlformats.org/drawingml/2006/main" xmlns:r="http://schemas.openxmlformats.org/officeDocument/2006/relationships" xmlns:p="http://schemas.openxmlformats.org/presentationml/2006/main">
  <p:tag name="MT_TILE" val="YES"/>
</p:tagLst>
</file>

<file path=ppt/tags/tag26.xml><?xml version="1.0" encoding="utf-8"?>
<p:tagLst xmlns:a="http://schemas.openxmlformats.org/drawingml/2006/main" xmlns:r="http://schemas.openxmlformats.org/officeDocument/2006/relationships" xmlns:p="http://schemas.openxmlformats.org/presentationml/2006/main">
  <p:tag name="MT_TILE" val="YES"/>
</p:tagLst>
</file>

<file path=ppt/tags/tag27.xml><?xml version="1.0" encoding="utf-8"?>
<p:tagLst xmlns:a="http://schemas.openxmlformats.org/drawingml/2006/main" xmlns:r="http://schemas.openxmlformats.org/officeDocument/2006/relationships" xmlns:p="http://schemas.openxmlformats.org/presentationml/2006/main">
  <p:tag name="MT_TILE" val="YES"/>
</p:tagLst>
</file>

<file path=ppt/tags/tag28.xml><?xml version="1.0" encoding="utf-8"?>
<p:tagLst xmlns:a="http://schemas.openxmlformats.org/drawingml/2006/main" xmlns:r="http://schemas.openxmlformats.org/officeDocument/2006/relationships" xmlns:p="http://schemas.openxmlformats.org/presentationml/2006/main">
  <p:tag name="MT_TILE" val="YES"/>
</p:tagLst>
</file>

<file path=ppt/tags/tag29.xml><?xml version="1.0" encoding="utf-8"?>
<p:tagLst xmlns:a="http://schemas.openxmlformats.org/drawingml/2006/main" xmlns:r="http://schemas.openxmlformats.org/officeDocument/2006/relationships" xmlns:p="http://schemas.openxmlformats.org/presentationml/2006/main">
  <p:tag name="MT_TILE" val="YES"/>
</p:tagLst>
</file>

<file path=ppt/tags/tag3.xml><?xml version="1.0" encoding="utf-8"?>
<p:tagLst xmlns:a="http://schemas.openxmlformats.org/drawingml/2006/main" xmlns:r="http://schemas.openxmlformats.org/officeDocument/2006/relationships" xmlns:p="http://schemas.openxmlformats.org/presentationml/2006/main">
  <p:tag name="MT_TILE" val="YES"/>
</p:tagLst>
</file>

<file path=ppt/tags/tag30.xml><?xml version="1.0" encoding="utf-8"?>
<p:tagLst xmlns:a="http://schemas.openxmlformats.org/drawingml/2006/main" xmlns:r="http://schemas.openxmlformats.org/officeDocument/2006/relationships" xmlns:p="http://schemas.openxmlformats.org/presentationml/2006/main">
  <p:tag name="MT_TILE" val="YES"/>
</p:tagLst>
</file>

<file path=ppt/tags/tag31.xml><?xml version="1.0" encoding="utf-8"?>
<p:tagLst xmlns:a="http://schemas.openxmlformats.org/drawingml/2006/main" xmlns:r="http://schemas.openxmlformats.org/officeDocument/2006/relationships" xmlns:p="http://schemas.openxmlformats.org/presentationml/2006/main">
  <p:tag name="MT_TILE" val="YES"/>
</p:tagLst>
</file>

<file path=ppt/tags/tag32.xml><?xml version="1.0" encoding="utf-8"?>
<p:tagLst xmlns:a="http://schemas.openxmlformats.org/drawingml/2006/main" xmlns:r="http://schemas.openxmlformats.org/officeDocument/2006/relationships" xmlns:p="http://schemas.openxmlformats.org/presentationml/2006/main">
  <p:tag name="MT_TILE" val="YES"/>
</p:tagLst>
</file>

<file path=ppt/tags/tag33.xml><?xml version="1.0" encoding="utf-8"?>
<p:tagLst xmlns:a="http://schemas.openxmlformats.org/drawingml/2006/main" xmlns:r="http://schemas.openxmlformats.org/officeDocument/2006/relationships" xmlns:p="http://schemas.openxmlformats.org/presentationml/2006/main">
  <p:tag name="MT_TILE" val="YES"/>
</p:tagLst>
</file>

<file path=ppt/tags/tag34.xml><?xml version="1.0" encoding="utf-8"?>
<p:tagLst xmlns:a="http://schemas.openxmlformats.org/drawingml/2006/main" xmlns:r="http://schemas.openxmlformats.org/officeDocument/2006/relationships" xmlns:p="http://schemas.openxmlformats.org/presentationml/2006/main">
  <p:tag name="MT_TILE" val="YES"/>
</p:tagLst>
</file>

<file path=ppt/tags/tag35.xml><?xml version="1.0" encoding="utf-8"?>
<p:tagLst xmlns:a="http://schemas.openxmlformats.org/drawingml/2006/main" xmlns:r="http://schemas.openxmlformats.org/officeDocument/2006/relationships" xmlns:p="http://schemas.openxmlformats.org/presentationml/2006/main">
  <p:tag name="MT_TILE" val="YES"/>
</p:tagLst>
</file>

<file path=ppt/tags/tag36.xml><?xml version="1.0" encoding="utf-8"?>
<p:tagLst xmlns:a="http://schemas.openxmlformats.org/drawingml/2006/main" xmlns:r="http://schemas.openxmlformats.org/officeDocument/2006/relationships" xmlns:p="http://schemas.openxmlformats.org/presentationml/2006/main">
  <p:tag name="MT_TILE" val="YES"/>
</p:tagLst>
</file>

<file path=ppt/tags/tag37.xml><?xml version="1.0" encoding="utf-8"?>
<p:tagLst xmlns:a="http://schemas.openxmlformats.org/drawingml/2006/main" xmlns:r="http://schemas.openxmlformats.org/officeDocument/2006/relationships" xmlns:p="http://schemas.openxmlformats.org/presentationml/2006/main">
  <p:tag name="MT_TILE" val="YES"/>
</p:tagLst>
</file>

<file path=ppt/tags/tag38.xml><?xml version="1.0" encoding="utf-8"?>
<p:tagLst xmlns:a="http://schemas.openxmlformats.org/drawingml/2006/main" xmlns:r="http://schemas.openxmlformats.org/officeDocument/2006/relationships" xmlns:p="http://schemas.openxmlformats.org/presentationml/2006/main">
  <p:tag name="MT_TILE" val="YES"/>
</p:tagLst>
</file>

<file path=ppt/tags/tag39.xml><?xml version="1.0" encoding="utf-8"?>
<p:tagLst xmlns:a="http://schemas.openxmlformats.org/drawingml/2006/main" xmlns:r="http://schemas.openxmlformats.org/officeDocument/2006/relationships" xmlns:p="http://schemas.openxmlformats.org/presentationml/2006/main">
  <p:tag name="MT_TILE" val="YES"/>
</p:tagLst>
</file>

<file path=ppt/tags/tag4.xml><?xml version="1.0" encoding="utf-8"?>
<p:tagLst xmlns:a="http://schemas.openxmlformats.org/drawingml/2006/main" xmlns:r="http://schemas.openxmlformats.org/officeDocument/2006/relationships" xmlns:p="http://schemas.openxmlformats.org/presentationml/2006/main">
  <p:tag name="MT_TILE" val="YES"/>
</p:tagLst>
</file>

<file path=ppt/tags/tag40.xml><?xml version="1.0" encoding="utf-8"?>
<p:tagLst xmlns:a="http://schemas.openxmlformats.org/drawingml/2006/main" xmlns:r="http://schemas.openxmlformats.org/officeDocument/2006/relationships" xmlns:p="http://schemas.openxmlformats.org/presentationml/2006/main">
  <p:tag name="MT_TILE" val="YES"/>
</p:tagLst>
</file>

<file path=ppt/tags/tag41.xml><?xml version="1.0" encoding="utf-8"?>
<p:tagLst xmlns:a="http://schemas.openxmlformats.org/drawingml/2006/main" xmlns:r="http://schemas.openxmlformats.org/officeDocument/2006/relationships" xmlns:p="http://schemas.openxmlformats.org/presentationml/2006/main">
  <p:tag name="MT_TILE" val="YES"/>
</p:tagLst>
</file>

<file path=ppt/tags/tag42.xml><?xml version="1.0" encoding="utf-8"?>
<p:tagLst xmlns:a="http://schemas.openxmlformats.org/drawingml/2006/main" xmlns:r="http://schemas.openxmlformats.org/officeDocument/2006/relationships" xmlns:p="http://schemas.openxmlformats.org/presentationml/2006/main">
  <p:tag name="MT_TILE" val="YES"/>
</p:tagLst>
</file>

<file path=ppt/tags/tag5.xml><?xml version="1.0" encoding="utf-8"?>
<p:tagLst xmlns:a="http://schemas.openxmlformats.org/drawingml/2006/main" xmlns:r="http://schemas.openxmlformats.org/officeDocument/2006/relationships" xmlns:p="http://schemas.openxmlformats.org/presentationml/2006/main">
  <p:tag name="MT_TILE" val="YES"/>
</p:tagLst>
</file>

<file path=ppt/tags/tag6.xml><?xml version="1.0" encoding="utf-8"?>
<p:tagLst xmlns:a="http://schemas.openxmlformats.org/drawingml/2006/main" xmlns:r="http://schemas.openxmlformats.org/officeDocument/2006/relationships" xmlns:p="http://schemas.openxmlformats.org/presentationml/2006/main">
  <p:tag name="MT_TILE" val="YES"/>
</p:tagLst>
</file>

<file path=ppt/tags/tag7.xml><?xml version="1.0" encoding="utf-8"?>
<p:tagLst xmlns:a="http://schemas.openxmlformats.org/drawingml/2006/main" xmlns:r="http://schemas.openxmlformats.org/officeDocument/2006/relationships" xmlns:p="http://schemas.openxmlformats.org/presentationml/2006/main">
  <p:tag name="MT_TILE" val="YES"/>
</p:tagLst>
</file>

<file path=ppt/tags/tag8.xml><?xml version="1.0" encoding="utf-8"?>
<p:tagLst xmlns:a="http://schemas.openxmlformats.org/drawingml/2006/main" xmlns:r="http://schemas.openxmlformats.org/officeDocument/2006/relationships" xmlns:p="http://schemas.openxmlformats.org/presentationml/2006/main">
  <p:tag name="MT_TILE" val="YES"/>
</p:tagLst>
</file>

<file path=ppt/tags/tag9.xml><?xml version="1.0" encoding="utf-8"?>
<p:tagLst xmlns:a="http://schemas.openxmlformats.org/drawingml/2006/main" xmlns:r="http://schemas.openxmlformats.org/officeDocument/2006/relationships" xmlns:p="http://schemas.openxmlformats.org/presentationml/2006/main">
  <p:tag name="MT_TILE" val="YES"/>
</p:tagLst>
</file>

<file path=ppt/theme/theme1.xml><?xml version="1.0" encoding="utf-8"?>
<a:theme xmlns:a="http://schemas.openxmlformats.org/drawingml/2006/main" name="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potx" id="{1A2CE55D-C0EF-4064-A39F-620642E032AA}" vid="{A3A9C9DA-6617-4D3E-A382-CDB23C8F3BF1}"/>
    </a:ext>
  </a:extLst>
</a:theme>
</file>

<file path=ppt/theme/theme2.xml><?xml version="1.0" encoding="utf-8"?>
<a:theme xmlns:a="http://schemas.openxmlformats.org/drawingml/2006/main" name="5-30629_Build_Template_WHITE">
  <a:themeElements>
    <a:clrScheme name="Build 2015">
      <a:dk1>
        <a:srgbClr val="404040"/>
      </a:dk1>
      <a:lt1>
        <a:srgbClr val="FFFFFF"/>
      </a:lt1>
      <a:dk2>
        <a:srgbClr val="00188F"/>
      </a:dk2>
      <a:lt2>
        <a:srgbClr val="FFFFFF"/>
      </a:lt2>
      <a:accent1>
        <a:srgbClr val="00188F"/>
      </a:accent1>
      <a:accent2>
        <a:srgbClr val="00BCF2"/>
      </a:accent2>
      <a:accent3>
        <a:srgbClr val="B4A0FF"/>
      </a:accent3>
      <a:accent4>
        <a:srgbClr val="BAD80A"/>
      </a:accent4>
      <a:accent5>
        <a:srgbClr val="FF8C00"/>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lIns="91440" tIns="91440" rIns="34294" bIns="34294" anchor="b" anchorCtr="0"/>
      <a:lstStyle>
        <a:defPPr defTabSz="932406">
          <a:defRPr sz="800"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5_Template.potx" id="{7B5DF659-5422-4FE0-B774-F31BE53950C5}" vid="{E3F4DD5B-E91A-4E2E-A066-DD68F9821E36}"/>
    </a:ext>
  </a:extLst>
</a:theme>
</file>

<file path=ppt/theme/theme3.xml><?xml version="1.0" encoding="utf-8"?>
<a:theme xmlns:a="http://schemas.openxmlformats.org/drawingml/2006/main" name="1_5-30629_Build_Template_WHITE">
  <a:themeElements>
    <a:clrScheme name="Build 2015">
      <a:dk1>
        <a:srgbClr val="404040"/>
      </a:dk1>
      <a:lt1>
        <a:srgbClr val="FFFFFF"/>
      </a:lt1>
      <a:dk2>
        <a:srgbClr val="00188F"/>
      </a:dk2>
      <a:lt2>
        <a:srgbClr val="FFFFFF"/>
      </a:lt2>
      <a:accent1>
        <a:srgbClr val="00188F"/>
      </a:accent1>
      <a:accent2>
        <a:srgbClr val="00BCF2"/>
      </a:accent2>
      <a:accent3>
        <a:srgbClr val="B4A0FF"/>
      </a:accent3>
      <a:accent4>
        <a:srgbClr val="BAD80A"/>
      </a:accent4>
      <a:accent5>
        <a:srgbClr val="FF8C00"/>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lIns="91440" tIns="91440" rIns="34294" bIns="34294" anchor="b" anchorCtr="0"/>
      <a:lstStyle>
        <a:defPPr defTabSz="932406">
          <a:defRPr sz="800"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5_Template.potx" id="{989475B9-DB6C-4EAF-8622-952BB3581377}" vid="{3DC98DF2-15D7-439F-8B72-0561DF431F48}"/>
    </a:ext>
  </a:extLst>
</a:theme>
</file>

<file path=ppt/theme/theme4.xml><?xml version="1.0" encoding="utf-8"?>
<a:theme xmlns:a="http://schemas.openxmlformats.org/drawingml/2006/main" name="Gallery">
  <a:themeElements>
    <a:clrScheme name="Gallery">
      <a:dk1>
        <a:sysClr val="windowText" lastClr="000000"/>
      </a:dk1>
      <a:lt1>
        <a:sysClr val="window" lastClr="FFFFFF"/>
      </a:lt1>
      <a:dk2>
        <a:srgbClr val="454545"/>
      </a:dk2>
      <a:lt2>
        <a:srgbClr val="DFDBD5"/>
      </a:lt2>
      <a:accent1>
        <a:srgbClr val="B71E42"/>
      </a:accent1>
      <a:accent2>
        <a:srgbClr val="DE478E"/>
      </a:accent2>
      <a:accent3>
        <a:srgbClr val="BC72F0"/>
      </a:accent3>
      <a:accent4>
        <a:srgbClr val="795FAF"/>
      </a:accent4>
      <a:accent5>
        <a:srgbClr val="586EA6"/>
      </a:accent5>
      <a:accent6>
        <a:srgbClr val="6892A0"/>
      </a:accent6>
      <a:hlink>
        <a:srgbClr val="FA2B5C"/>
      </a:hlink>
      <a:folHlink>
        <a:srgbClr val="BC658E"/>
      </a:folHlink>
    </a:clrScheme>
    <a:fontScheme name="Gallery">
      <a:majorFont>
        <a:latin typeface="Gill Sans MT" panose="020B0502020104020203"/>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Gill Sans MT" panose="020B0502020104020203"/>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Gallery">
      <a:fillStyleLst>
        <a:solidFill>
          <a:schemeClr val="phClr"/>
        </a:solidFill>
        <a:gradFill rotWithShape="1">
          <a:gsLst>
            <a:gs pos="0">
              <a:schemeClr val="phClr">
                <a:tint val="54000"/>
                <a:alpha val="100000"/>
                <a:satMod val="105000"/>
                <a:lumMod val="110000"/>
              </a:schemeClr>
            </a:gs>
            <a:gs pos="100000">
              <a:schemeClr val="phClr">
                <a:tint val="78000"/>
                <a:alpha val="92000"/>
                <a:satMod val="109000"/>
                <a:lumMod val="100000"/>
              </a:schemeClr>
            </a:gs>
          </a:gsLst>
          <a:lin ang="5400000" scaled="0"/>
        </a:gradFill>
        <a:gradFill rotWithShape="1">
          <a:gsLst>
            <a:gs pos="0">
              <a:schemeClr val="phClr">
                <a:tint val="98000"/>
                <a:satMod val="110000"/>
                <a:lumMod val="104000"/>
              </a:schemeClr>
            </a:gs>
            <a:gs pos="69000">
              <a:schemeClr val="phClr">
                <a:shade val="88000"/>
                <a:satMod val="130000"/>
                <a:lumMod val="92000"/>
              </a:schemeClr>
            </a:gs>
            <a:gs pos="100000">
              <a:schemeClr val="phClr">
                <a:shade val="78000"/>
                <a:satMod val="130000"/>
                <a:lumMod val="92000"/>
              </a:schemeClr>
            </a:gs>
          </a:gsLst>
          <a:lin ang="5400000" scaled="0"/>
        </a:gradFill>
      </a:fillStyleLst>
      <a:lnStyleLst>
        <a:ln w="9525" cap="flat" cmpd="sng" algn="ctr">
          <a:solidFill>
            <a:schemeClr val="phClr"/>
          </a:solidFill>
          <a:prstDash val="solid"/>
        </a:ln>
        <a:ln w="15875" cap="flat" cmpd="sng" algn="ctr">
          <a:solidFill>
            <a:schemeClr val="phClr"/>
          </a:solidFill>
          <a:prstDash val="solid"/>
        </a:ln>
        <a:ln w="22225" cap="flat" cmpd="sng" algn="ctr">
          <a:solidFill>
            <a:schemeClr val="phClr"/>
          </a:solidFill>
          <a:prstDash val="solid"/>
        </a:ln>
      </a:lnStyleLst>
      <a:effectStyleLst>
        <a:effectStyle>
          <a:effectLst/>
        </a:effectStyle>
        <a:effectStyle>
          <a:effectLst/>
        </a:effectStyle>
        <a:effectStyle>
          <a:effectLst>
            <a:outerShdw blurRad="50800" dist="50800" dir="5400000" sx="96000" sy="96000" rotWithShape="0">
              <a:srgbClr val="000000">
                <a:alpha val="48000"/>
              </a:srgbClr>
            </a:outerShdw>
          </a:effectLst>
          <a:scene3d>
            <a:camera prst="orthographicFront">
              <a:rot lat="0" lon="0" rev="0"/>
            </a:camera>
            <a:lightRig rig="balanced" dir="t">
              <a:rot lat="0" lon="0" rev="1080000"/>
            </a:lightRig>
          </a:scene3d>
          <a:sp3d>
            <a:bevelT w="38100" h="12700" prst="softRound"/>
          </a:sp3d>
        </a:effectStyle>
      </a:effectStyleLst>
      <a:bgFillStyleLst>
        <a:solidFill>
          <a:schemeClr val="phClr"/>
        </a:solidFill>
        <a:solidFill>
          <a:schemeClr val="phClr"/>
        </a:solidFill>
        <a:gradFill rotWithShape="1">
          <a:gsLst>
            <a:gs pos="0">
              <a:schemeClr val="phClr">
                <a:tint val="94000"/>
                <a:satMod val="80000"/>
                <a:lumMod val="106000"/>
              </a:schemeClr>
            </a:gs>
            <a:gs pos="100000">
              <a:schemeClr val="phClr">
                <a:shade val="80000"/>
              </a:schemeClr>
            </a:gs>
          </a:gsLst>
          <a:path path="circle">
            <a:fillToRect l="43000" r="43000" b="100000"/>
          </a:path>
        </a:gradFill>
      </a:bgFillStyleLst>
    </a:fmtScheme>
  </a:themeElements>
  <a:objectDefaults/>
  <a:extraClrSchemeLst/>
  <a:extLst>
    <a:ext uri="{05A4C25C-085E-4340-85A3-A5531E510DB2}">
      <thm15:themeFamily xmlns:thm15="http://schemas.microsoft.com/office/thememl/2012/main" name="Gallery" id="{BBFCD31E-59A1-489D-B089-A3EAD7CAE12E}" vid="{F5E91637-A7B6-4E27-B710-77DA7014EE1E}"/>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h9a868b2ee15488883f623ae5237ecae xmlns="12a172fe-0250-434a-85cf-03b10810c5e5">
      <Terms xmlns="http://schemas.microsoft.com/office/infopath/2007/PartnerControls">
        <TermInfo xmlns="http://schemas.microsoft.com/office/infopath/2007/PartnerControls">
          <TermName xmlns="http://schemas.microsoft.com/office/infopath/2007/PartnerControls">McCormick Place</TermName>
          <TermId xmlns="http://schemas.microsoft.com/office/infopath/2007/PartnerControls">f42e8eaa-659e-42d3-85a5-a4ea6b6d2ed7</TermId>
        </TermInfo>
      </Terms>
    </h9a868b2ee15488883f623ae5237ecae>
    <k62f7d35b80b40fb8c27985e50b34fcd xmlns="12a172fe-0250-434a-85cf-03b10810c5e5">
      <Terms xmlns="http://schemas.microsoft.com/office/infopath/2007/PartnerControls">
        <TermInfo xmlns="http://schemas.microsoft.com/office/infopath/2007/PartnerControls">
          <TermName xmlns="http://schemas.microsoft.com/office/infopath/2007/PartnerControls">Microsoft Ignite</TermName>
          <TermId xmlns="http://schemas.microsoft.com/office/infopath/2007/PartnerControls">9323c522-fe4b-4922-816b-10a1920d7afb</TermId>
        </TermInfo>
      </Terms>
    </k62f7d35b80b40fb8c27985e50b34fcd>
    <LikesCount xmlns="http://schemas.microsoft.com/sharepoint/v3" xsi:nil="true"/>
    <pfbfa50075a04958bd8757dc155d3e08 xmlns="12a172fe-0250-434a-85cf-03b10810c5e5">
      <Terms xmlns="http://schemas.microsoft.com/office/infopath/2007/PartnerControls">
        <TermInfo xmlns="http://schemas.microsoft.com/office/infopath/2007/PartnerControls">
          <TermName xmlns="http://schemas.microsoft.com/office/infopath/2007/PartnerControls">Chicago</TermName>
          <TermId xmlns="http://schemas.microsoft.com/office/infopath/2007/PartnerControls">b2ea4b94-6e68-4e03-872e-ca2dcc35a47e</TermId>
        </TermInfo>
      </Terms>
    </pfbfa50075a04958bd8757dc155d3e08>
    <Presentation_x0020_Date xmlns="12a172fe-0250-434a-85cf-03b10810c5e5">2015-05-06T00:00:00-05:00</Presentation_x0020_Date>
    <o72fbe6ee5ae4131af0832c08ec51202 xmlns="12a172fe-0250-434a-85cf-03b10810c5e5">
      <Terms xmlns="http://schemas.microsoft.com/office/infopath/2007/PartnerControls"/>
    </o72fbe6ee5ae4131af0832c08ec51202>
    <Event_x0020_Start_x0020_Date xmlns="12a172fe-0250-434a-85cf-03b10810c5e5">2015-05-04T07:00:00+00:00</Event_x0020_Start_x0020_Date>
    <MS_x0020_Content_x0020_Owner xmlns="12a172fe-0250-434a-85cf-03b10810c5e5">
      <UserInfo>
        <DisplayName/>
        <AccountId xsi:nil="true"/>
        <AccountType/>
      </UserInfo>
    </MS_x0020_Content_x0020_Owner>
    <MS_x0020_Speaker xmlns="12a172fe-0250-434a-85cf-03b10810c5e5">
      <UserInfo>
        <DisplayName/>
        <AccountId xsi:nil="true"/>
        <AccountType/>
      </UserInfo>
    </MS_x0020_Speaker>
    <External_x0020_Speaker xmlns="12a172fe-0250-434a-85cf-03b10810c5e5">Kevin Miller</External_x0020_Speaker>
    <Session_x0020_Code xmlns="12a172fe-0250-434a-85cf-03b10810c5e5"> BRK1552</Session_x0020_Code>
    <le8386062bd54e24a95c83b32ccbdb34 xmlns="12a172fe-0250-434a-85cf-03b10810c5e5">
      <Terms xmlns="http://schemas.microsoft.com/office/infopath/2007/PartnerControls"/>
    </le8386062bd54e24a95c83b32ccbdb34>
    <j4d4d959795b4220a289a041ed046605 xmlns="12a172fe-0250-434a-85cf-03b10810c5e5">
      <Terms xmlns="http://schemas.microsoft.com/office/infopath/2007/PartnerControls"/>
    </j4d4d959795b4220a289a041ed046605>
    <Event_x0020_End_x0020_Date xmlns="12a172fe-0250-434a-85cf-03b10810c5e5">2015-05-08T07:00:00+00:00</Event_x0020_End_x0020_Date>
    <TaxKeywordTaxHTField xmlns="230e9df3-be65-4c73-a93b-d1236ebd677e">
      <Terms xmlns="http://schemas.microsoft.com/office/infopath/2007/PartnerControls"/>
    </TaxKeywordTaxHTField>
    <TaxCatchAll xmlns="230e9df3-be65-4c73-a93b-d1236ebd677e">
      <Value>41</Value>
      <Value>44</Value>
      <Value>43</Value>
      <Value>42</Value>
    </TaxCatchAll>
    <eb9cf3a3af7b473faa5c9c98148a90a4 xmlns="12a172fe-0250-434a-85cf-03b10810c5e5">
      <Terms xmlns="http://schemas.microsoft.com/office/infopath/2007/PartnerControls"/>
    </eb9cf3a3af7b473faa5c9c98148a90a4>
  </documentManagement>
</p:properties>
</file>

<file path=customXml/item3.xml><?xml version="1.0" encoding="utf-8"?>
<ct:contentTypeSchema xmlns:ct="http://schemas.microsoft.com/office/2006/metadata/contentType" xmlns:ma="http://schemas.microsoft.com/office/2006/metadata/properties/metaAttributes" ct:_="" ma:_="" ma:contentTypeName="PresentationsDoc" ma:contentTypeID="0x01010046EBBE4F454C2C47A5E89CD935B1FC7800E83BCD34BAE21044A0567CF64FDFDE54" ma:contentTypeVersion="3" ma:contentTypeDescription="Create a new document." ma:contentTypeScope="" ma:versionID="ad0318b59f0baaa5619a87a276b8590a">
  <xsd:schema xmlns:xsd="http://www.w3.org/2001/XMLSchema" xmlns:xs="http://www.w3.org/2001/XMLSchema" xmlns:p="http://schemas.microsoft.com/office/2006/metadata/properties" xmlns:ns1="http://schemas.microsoft.com/sharepoint/v3" xmlns:ns2="12a172fe-0250-434a-85cf-03b10810c5e5" xmlns:ns3="230e9df3-be65-4c73-a93b-d1236ebd677e" targetNamespace="http://schemas.microsoft.com/office/2006/metadata/properties" ma:root="true" ma:fieldsID="26205b5b46d9ab9d881e0fa75366d1c2" ns1:_="" ns2:_="" ns3:_="">
    <xsd:import namespace="http://schemas.microsoft.com/sharepoint/v3"/>
    <xsd:import namespace="12a172fe-0250-434a-85cf-03b10810c5e5"/>
    <xsd:import namespace="230e9df3-be65-4c73-a93b-d1236ebd677e"/>
    <xsd:element name="properties">
      <xsd:complexType>
        <xsd:sequence>
          <xsd:element name="documentManagement">
            <xsd:complexType>
              <xsd:all>
                <xsd:element ref="ns2:k62f7d35b80b40fb8c27985e50b34fcd" minOccurs="0"/>
                <xsd:element ref="ns3:TaxCatchAll" minOccurs="0"/>
                <xsd:element ref="ns3:TaxCatchAllLabel" minOccurs="0"/>
                <xsd:element ref="ns2:pfbfa50075a04958bd8757dc155d3e08" minOccurs="0"/>
                <xsd:element ref="ns2:h9a868b2ee15488883f623ae5237ecae" minOccurs="0"/>
                <xsd:element ref="ns2:Event_x0020_Start_x0020_Date" minOccurs="0"/>
                <xsd:element ref="ns2:Event_x0020_End_x0020_Date" minOccurs="0"/>
                <xsd:element ref="ns2:Presentation_x0020_Date" minOccurs="0"/>
                <xsd:element ref="ns2:MS_x0020_Speaker" minOccurs="0"/>
                <xsd:element ref="ns2:External_x0020_Speaker" minOccurs="0"/>
                <xsd:element ref="ns2:o72fbe6ee5ae4131af0832c08ec51202" minOccurs="0"/>
                <xsd:element ref="ns2:eb9cf3a3af7b473faa5c9c98148a90a4" minOccurs="0"/>
                <xsd:element ref="ns2:Session_x0020_Code" minOccurs="0"/>
                <xsd:element ref="ns2:MS_x0020_Content_x0020_Owner" minOccurs="0"/>
                <xsd:element ref="ns2:le8386062bd54e24a95c83b32ccbdb34" minOccurs="0"/>
                <xsd:element ref="ns2:j4d4d959795b4220a289a041ed046605" minOccurs="0"/>
                <xsd:element ref="ns3:TaxKeywordTaxHTField" minOccurs="0"/>
                <xsd:element ref="ns1:AverageRating" minOccurs="0"/>
                <xsd:element ref="ns1:RatingCount" minOccurs="0"/>
                <xsd:element ref="ns1:LikesCoun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AverageRating" ma:index="33" nillable="true" ma:displayName="Rating (0-5)" ma:decimals="2" ma:description="Average value of all the ratings that have been submitted" ma:internalName="AverageRating" ma:readOnly="true">
      <xsd:simpleType>
        <xsd:restriction base="dms:Number"/>
      </xsd:simpleType>
    </xsd:element>
    <xsd:element name="RatingCount" ma:index="34" nillable="true" ma:displayName="Number of Ratings" ma:decimals="0" ma:description="Number of ratings submitted" ma:internalName="RatingCount" ma:readOnly="true">
      <xsd:simpleType>
        <xsd:restriction base="dms:Number"/>
      </xsd:simpleType>
    </xsd:element>
    <xsd:element name="LikesCount" ma:index="35" nillable="true" ma:displayName="Number of Likes" ma:internalName="LikesCount">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12a172fe-0250-434a-85cf-03b10810c5e5" elementFormDefault="qualified">
    <xsd:import namespace="http://schemas.microsoft.com/office/2006/documentManagement/types"/>
    <xsd:import namespace="http://schemas.microsoft.com/office/infopath/2007/PartnerControls"/>
    <xsd:element name="k62f7d35b80b40fb8c27985e50b34fcd" ma:index="8" nillable="true" ma:taxonomy="true" ma:internalName="k62f7d35b80b40fb8c27985e50b34fcd" ma:taxonomyFieldName="Event_x0020_Name" ma:displayName="Event Name" ma:default="" ma:fieldId="{462f7d35-b80b-40fb-8c27-985e50b34fcd}" ma:sspId="e385fb40-52d4-4fae-9c5b-3e8ff8a5878e" ma:termSetId="32cfb7b5-aebe-4989-95ed-0d5619f5d6c0" ma:anchorId="eaa4d92a-3824-4a49-92be-7ef169e4e325" ma:open="false" ma:isKeyword="false">
      <xsd:complexType>
        <xsd:sequence>
          <xsd:element ref="pc:Terms" minOccurs="0" maxOccurs="1"/>
        </xsd:sequence>
      </xsd:complexType>
    </xsd:element>
    <xsd:element name="pfbfa50075a04958bd8757dc155d3e08" ma:index="12" nillable="true" ma:taxonomy="true" ma:internalName="pfbfa50075a04958bd8757dc155d3e08" ma:taxonomyFieldName="Event_x0020_Location" ma:displayName="Event Location" ma:default="" ma:fieldId="{9fbfa500-75a0-4958-bd87-57dc155d3e08}" ma:sspId="e385fb40-52d4-4fae-9c5b-3e8ff8a5878e" ma:termSetId="ff02addd-433e-4baa-a831-22be402789db" ma:anchorId="00000000-0000-0000-0000-000000000000" ma:open="false" ma:isKeyword="false">
      <xsd:complexType>
        <xsd:sequence>
          <xsd:element ref="pc:Terms" minOccurs="0" maxOccurs="1"/>
        </xsd:sequence>
      </xsd:complexType>
    </xsd:element>
    <xsd:element name="h9a868b2ee15488883f623ae5237ecae" ma:index="14" nillable="true" ma:taxonomy="true" ma:internalName="h9a868b2ee15488883f623ae5237ecae" ma:taxonomyFieldName="Event_x0020_Venue" ma:displayName="Event Venue" ma:default="" ma:fieldId="{19a868b2-ee15-4888-83f6-23ae5237ecae}" ma:sspId="e385fb40-52d4-4fae-9c5b-3e8ff8a5878e" ma:termSetId="ff02addd-433e-4baa-a831-22be402789db" ma:anchorId="d989be80-0593-11e1-be50-0800200c9a66" ma:open="false" ma:isKeyword="false">
      <xsd:complexType>
        <xsd:sequence>
          <xsd:element ref="pc:Terms" minOccurs="0" maxOccurs="1"/>
        </xsd:sequence>
      </xsd:complexType>
    </xsd:element>
    <xsd:element name="Event_x0020_Start_x0020_Date" ma:index="16" nillable="true" ma:displayName="Event Start Date" ma:format="DateOnly" ma:internalName="Event_x0020_Start_x0020_Date">
      <xsd:simpleType>
        <xsd:restriction base="dms:DateTime"/>
      </xsd:simpleType>
    </xsd:element>
    <xsd:element name="Event_x0020_End_x0020_Date" ma:index="17" nillable="true" ma:displayName="Event End Date" ma:format="DateOnly" ma:internalName="Event_x0020_End_x0020_Date">
      <xsd:simpleType>
        <xsd:restriction base="dms:DateTime"/>
      </xsd:simpleType>
    </xsd:element>
    <xsd:element name="Presentation_x0020_Date" ma:index="18" nillable="true" ma:displayName="Presentation Date" ma:format="DateOnly" ma:internalName="Presentation_x0020_Date">
      <xsd:simpleType>
        <xsd:restriction base="dms:DateTime"/>
      </xsd:simpleType>
    </xsd:element>
    <xsd:element name="MS_x0020_Speaker" ma:index="19" nillable="true" ma:displayName="MS Speaker" ma:list="UserInfo" ma:SharePointGroup="0" ma:internalName="MS_x0020_Speaker"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ternal_x0020_Speaker" ma:index="20" nillable="true" ma:displayName="External Speaker" ma:internalName="External_x0020_Speaker">
      <xsd:simpleType>
        <xsd:restriction base="dms:Text">
          <xsd:maxLength value="255"/>
        </xsd:restriction>
      </xsd:simpleType>
    </xsd:element>
    <xsd:element name="o72fbe6ee5ae4131af0832c08ec51202" ma:index="21" nillable="true" ma:taxonomy="true" ma:internalName="o72fbe6ee5ae4131af0832c08ec51202" ma:taxonomyFieldName="Product" ma:displayName="Product" ma:default="" ma:fieldId="{872fbe6e-e5ae-4131-af08-32c08ec51202}" ma:taxonomyMulti="true" ma:sspId="e385fb40-52d4-4fae-9c5b-3e8ff8a5878e" ma:termSetId="e8298524-23d5-441d-8e61-21bed1c2c470" ma:anchorId="00000000-0000-0000-0000-000000000000" ma:open="false" ma:isKeyword="false">
      <xsd:complexType>
        <xsd:sequence>
          <xsd:element ref="pc:Terms" minOccurs="0" maxOccurs="1"/>
        </xsd:sequence>
      </xsd:complexType>
    </xsd:element>
    <xsd:element name="eb9cf3a3af7b473faa5c9c98148a90a4" ma:index="23" nillable="true" ma:taxonomy="true" ma:internalName="eb9cf3a3af7b473faa5c9c98148a90a4" ma:taxonomyFieldName="Campaign" ma:displayName="Campaign" ma:default="" ma:fieldId="{eb9cf3a3-af7b-473f-aa5c-9c98148a90a4}" ma:sspId="e385fb40-52d4-4fae-9c5b-3e8ff8a5878e" ma:termSetId="eb6054b1-3a98-4c79-97b4-d20150dd266e" ma:anchorId="a7bf803d-fc4f-4bb4-903c-88e76437cc17" ma:open="false" ma:isKeyword="false">
      <xsd:complexType>
        <xsd:sequence>
          <xsd:element ref="pc:Terms" minOccurs="0" maxOccurs="1"/>
        </xsd:sequence>
      </xsd:complexType>
    </xsd:element>
    <xsd:element name="Session_x0020_Code" ma:index="25" nillable="true" ma:displayName="Session Code" ma:internalName="Session_x0020_Code">
      <xsd:simpleType>
        <xsd:restriction base="dms:Text">
          <xsd:maxLength value="255"/>
        </xsd:restriction>
      </xsd:simpleType>
    </xsd:element>
    <xsd:element name="MS_x0020_Content_x0020_Owner" ma:index="26" nillable="true" ma:displayName="MS Content Owner" ma:list="UserInfo" ma:SharePointGroup="0" ma:internalName="MS_x0020_Content_x0020_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le8386062bd54e24a95c83b32ccbdb34" ma:index="27" nillable="true" ma:taxonomy="true" ma:internalName="le8386062bd54e24a95c83b32ccbdb34" ma:taxonomyFieldName="Track" ma:displayName="Track" ma:default="" ma:fieldId="{5e838606-2bd5-4e24-a95c-83b32ccbdb34}" ma:sspId="e385fb40-52d4-4fae-9c5b-3e8ff8a5878e" ma:termSetId="043e2b11-12ce-49cc-a347-2f73f2b7fe4b" ma:anchorId="00000000-0000-0000-0000-000000000000" ma:open="false" ma:isKeyword="false">
      <xsd:complexType>
        <xsd:sequence>
          <xsd:element ref="pc:Terms" minOccurs="0" maxOccurs="1"/>
        </xsd:sequence>
      </xsd:complexType>
    </xsd:element>
    <xsd:element name="j4d4d959795b4220a289a041ed046605" ma:index="29" nillable="true" ma:taxonomy="true" ma:internalName="j4d4d959795b4220a289a041ed046605" ma:taxonomyFieldName="Audience1" ma:displayName="Audience" ma:default="" ma:fieldId="{34d4d959-795b-4220-a289-a041ed046605}" ma:sspId="e385fb40-52d4-4fae-9c5b-3e8ff8a5878e" ma:termSetId="02c0b350-7782-44ed-b079-a5ef0c1b9fe9"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9" nillable="true" ma:displayName="Taxonomy Catch All Column" ma:hidden="true" ma:list="{5b797c71-5459-41dc-9095-63a63c56aa91}" ma:internalName="TaxCatchAll" ma:showField="CatchAllData" ma:web="12a172fe-0250-434a-85cf-03b10810c5e5">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5b797c71-5459-41dc-9095-63a63c56aa91}" ma:internalName="TaxCatchAllLabel" ma:readOnly="true" ma:showField="CatchAllDataLabel" ma:web="12a172fe-0250-434a-85cf-03b10810c5e5">
      <xsd:complexType>
        <xsd:complexContent>
          <xsd:extension base="dms:MultiChoiceLookup">
            <xsd:sequence>
              <xsd:element name="Value" type="dms:Lookup" maxOccurs="unbounded" minOccurs="0" nillable="true"/>
            </xsd:sequence>
          </xsd:extension>
        </xsd:complexContent>
      </xsd:complexType>
    </xsd:element>
    <xsd:element name="TaxKeywordTaxHTField" ma:index="31"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ma:index="36"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2.xml><?xml version="1.0" encoding="utf-8"?>
<ds:datastoreItem xmlns:ds="http://schemas.openxmlformats.org/officeDocument/2006/customXml" ds:itemID="{F990F116-B58F-4255-B05B-DA3808E0E5C6}">
  <ds:schemaRefs>
    <ds:schemaRef ds:uri="http://schemas.microsoft.com/office/2006/metadata/properties"/>
    <ds:schemaRef ds:uri="http://schemas.microsoft.com/office/infopath/2007/PartnerControls"/>
    <ds:schemaRef ds:uri="http://schemas.microsoft.com/office/2006/documentManagement/types"/>
    <ds:schemaRef ds:uri="http://schemas.microsoft.com/sharepoint/v3"/>
    <ds:schemaRef ds:uri="http://purl.org/dc/terms/"/>
    <ds:schemaRef ds:uri="12a172fe-0250-434a-85cf-03b10810c5e5"/>
    <ds:schemaRef ds:uri="http://purl.org/dc/dcmitype/"/>
    <ds:schemaRef ds:uri="230e9df3-be65-4c73-a93b-d1236ebd677e"/>
    <ds:schemaRef ds:uri="http://schemas.openxmlformats.org/package/2006/metadata/core-properties"/>
    <ds:schemaRef ds:uri="http://purl.org/dc/elements/1.1/"/>
    <ds:schemaRef ds:uri="http://www.w3.org/XML/1998/namespace"/>
  </ds:schemaRefs>
</ds:datastoreItem>
</file>

<file path=customXml/itemProps3.xml><?xml version="1.0" encoding="utf-8"?>
<ds:datastoreItem xmlns:ds="http://schemas.openxmlformats.org/officeDocument/2006/customXml" ds:itemID="{5D0DEFCE-63D4-4F88-8228-705C0AA7059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12a172fe-0250-434a-85cf-03b10810c5e5"/>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6</TotalTime>
  <Words>498</Words>
  <Application>Microsoft Office PowerPoint</Application>
  <PresentationFormat>Custom</PresentationFormat>
  <Paragraphs>63</Paragraphs>
  <Slides>8</Slides>
  <Notes>7</Notes>
  <HiddenSlides>0</HiddenSlides>
  <MMClips>0</MMClips>
  <ScaleCrop>false</ScaleCrop>
  <HeadingPairs>
    <vt:vector size="8" baseType="variant">
      <vt:variant>
        <vt:lpstr>Fonts Used</vt:lpstr>
      </vt:variant>
      <vt:variant>
        <vt:i4>9</vt:i4>
      </vt:variant>
      <vt:variant>
        <vt:lpstr>Theme</vt:lpstr>
      </vt:variant>
      <vt:variant>
        <vt:i4>4</vt:i4>
      </vt:variant>
      <vt:variant>
        <vt:lpstr>Embedded OLE Servers</vt:lpstr>
      </vt:variant>
      <vt:variant>
        <vt:i4>1</vt:i4>
      </vt:variant>
      <vt:variant>
        <vt:lpstr>Slide Titles</vt:lpstr>
      </vt:variant>
      <vt:variant>
        <vt:i4>8</vt:i4>
      </vt:variant>
    </vt:vector>
  </HeadingPairs>
  <TitlesOfParts>
    <vt:vector size="22" baseType="lpstr">
      <vt:lpstr>ＭＳ Ｐゴシック</vt:lpstr>
      <vt:lpstr>Arial</vt:lpstr>
      <vt:lpstr>Avenir LT Pro 45 Book</vt:lpstr>
      <vt:lpstr>Consolas</vt:lpstr>
      <vt:lpstr>Gill Sans MT</vt:lpstr>
      <vt:lpstr>Segoe</vt:lpstr>
      <vt:lpstr>Segoe UI</vt:lpstr>
      <vt:lpstr>Segoe UI Light</vt:lpstr>
      <vt:lpstr>Wingdings</vt:lpstr>
      <vt:lpstr>5-30610_Microsoft_Ignite_Keynote_Template</vt:lpstr>
      <vt:lpstr>5-30629_Build_Template_WHITE</vt:lpstr>
      <vt:lpstr>1_5-30629_Build_Template_WHITE</vt:lpstr>
      <vt:lpstr>Gallery</vt:lpstr>
      <vt:lpstr>think-cell Slide</vt:lpstr>
      <vt:lpstr>Designing IOT application </vt:lpstr>
      <vt:lpstr>Agenda</vt:lpstr>
      <vt:lpstr>What is an IOT application ?</vt:lpstr>
      <vt:lpstr>Device Connectivity</vt:lpstr>
      <vt:lpstr>Understanding the Azure IoT Suite</vt:lpstr>
      <vt:lpstr>Pre-configured IOT solutions </vt:lpstr>
      <vt:lpstr>Demo </vt:lpstr>
      <vt:lpstr>IOT Hub</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signing IOT application </dc:title>
  <dc:creator>Vishal Khatal</dc:creator>
  <cp:lastModifiedBy>Vishal Khatal</cp:lastModifiedBy>
  <cp:revision>1</cp:revision>
  <dcterms:created xsi:type="dcterms:W3CDTF">2018-08-31T04:20:01Z</dcterms:created>
  <dcterms:modified xsi:type="dcterms:W3CDTF">2018-08-31T04:26: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vikhatal@microsoft.com</vt:lpwstr>
  </property>
  <property fmtid="{D5CDD505-2E9C-101B-9397-08002B2CF9AE}" pid="5" name="MSIP_Label_f42aa342-8706-4288-bd11-ebb85995028c_SetDate">
    <vt:lpwstr>2018-08-31T04:25:15.2436798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